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04" r:id="rId5"/>
  </p:sldMasterIdLst>
  <p:notesMasterIdLst>
    <p:notesMasterId r:id="rId19"/>
  </p:notesMasterIdLst>
  <p:sldIdLst>
    <p:sldId id="344" r:id="rId6"/>
    <p:sldId id="405" r:id="rId7"/>
    <p:sldId id="398" r:id="rId8"/>
    <p:sldId id="349" r:id="rId9"/>
    <p:sldId id="350" r:id="rId10"/>
    <p:sldId id="399" r:id="rId11"/>
    <p:sldId id="400" r:id="rId12"/>
    <p:sldId id="401" r:id="rId13"/>
    <p:sldId id="351" r:id="rId14"/>
    <p:sldId id="402" r:id="rId15"/>
    <p:sldId id="403" r:id="rId16"/>
    <p:sldId id="406" r:id="rId17"/>
    <p:sldId id="407" r:id="rId18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4228">
          <p15:clr>
            <a:srgbClr val="A4A3A4"/>
          </p15:clr>
        </p15:guide>
        <p15:guide id="3" orient="horz" pos="3888">
          <p15:clr>
            <a:srgbClr val="A4A3A4"/>
          </p15:clr>
        </p15:guide>
        <p15:guide id="4" orient="horz" pos="3658">
          <p15:clr>
            <a:srgbClr val="A4A3A4"/>
          </p15:clr>
        </p15:guide>
        <p15:guide id="5" pos="2880">
          <p15:clr>
            <a:srgbClr val="A4A3A4"/>
          </p15:clr>
        </p15:guide>
        <p15:guide id="6" pos="22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D0CE"/>
    <a:srgbClr val="B1B3B3"/>
    <a:srgbClr val="888B8D"/>
    <a:srgbClr val="63666A"/>
    <a:srgbClr val="739600"/>
    <a:srgbClr val="A22B38"/>
    <a:srgbClr val="F2AA00"/>
    <a:srgbClr val="E87722"/>
    <a:srgbClr val="FFFFFF"/>
    <a:srgbClr val="55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41" autoAdjust="0"/>
    <p:restoredTop sz="97459" autoAdjust="0"/>
  </p:normalViewPr>
  <p:slideViewPr>
    <p:cSldViewPr snapToGrid="0">
      <p:cViewPr varScale="1">
        <p:scale>
          <a:sx n="69" d="100"/>
          <a:sy n="69" d="100"/>
        </p:scale>
        <p:origin x="1160" y="44"/>
      </p:cViewPr>
      <p:guideLst>
        <p:guide orient="horz" pos="2160"/>
        <p:guide orient="horz" pos="4228"/>
        <p:guide orient="horz" pos="3888"/>
        <p:guide orient="horz" pos="3658"/>
        <p:guide pos="2880"/>
        <p:guide pos="22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20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78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ra Johnson" userId="dec80153129495dc" providerId="LiveId" clId="{0B80A026-1A72-4389-A0BA-8C423C6210BD}"/>
    <pc:docChg chg="custSel modSld">
      <pc:chgData name="Sandra Johnson" userId="dec80153129495dc" providerId="LiveId" clId="{0B80A026-1A72-4389-A0BA-8C423C6210BD}" dt="2017-07-28T16:32:21.691" v="5"/>
      <pc:docMkLst>
        <pc:docMk/>
      </pc:docMkLst>
      <pc:sldChg chg="delSp">
        <pc:chgData name="Sandra Johnson" userId="dec80153129495dc" providerId="LiveId" clId="{0B80A026-1A72-4389-A0BA-8C423C6210BD}" dt="2017-07-28T15:48:13.391" v="0" actId="478"/>
        <pc:sldMkLst>
          <pc:docMk/>
          <pc:sldMk cId="1050542642" sldId="256"/>
        </pc:sldMkLst>
        <pc:spChg chg="del">
          <ac:chgData name="Sandra Johnson" userId="dec80153129495dc" providerId="LiveId" clId="{0B80A026-1A72-4389-A0BA-8C423C6210BD}" dt="2017-07-28T15:48:13.391" v="0" actId="478"/>
          <ac:spMkLst>
            <pc:docMk/>
            <pc:sldMk cId="1050542642" sldId="256"/>
            <ac:spMk id="8" creationId="{091D1411-45EB-4DB1-9119-32C90DF564DF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2447686135" sldId="260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2447686135" sldId="260"/>
            <ac:spMk id="2" creationId="{8859C444-51BE-413C-8C07-1775731DB9C4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2998175235" sldId="261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2998175235" sldId="261"/>
            <ac:spMk id="2" creationId="{37684E88-FA57-4134-BAB7-E535B885BFA3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140106642" sldId="262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140106642" sldId="262"/>
            <ac:spMk id="2" creationId="{D0BEA9BC-8C7B-4F6F-8B1D-CC655E38C95D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489303549" sldId="263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489303549" sldId="263"/>
            <ac:spMk id="2" creationId="{245D0DFF-F239-47B5-9CF2-B14D16EFB405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457534109" sldId="264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457534109" sldId="264"/>
            <ac:spMk id="2" creationId="{5CC88234-D477-47B4-A6EA-B12B3D5EE2AF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2871937851" sldId="265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2871937851" sldId="265"/>
            <ac:spMk id="2" creationId="{9F1F46EF-2104-4264-AD1B-B743C648E259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2276674131" sldId="272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2276674131" sldId="272"/>
            <ac:spMk id="2" creationId="{A81D5D95-A8D1-4C55-B45A-D9471BF8831E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405277850" sldId="274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405277850" sldId="274"/>
            <ac:spMk id="3" creationId="{9CE8A5D4-628D-4487-82FC-DF0BCA7F78CD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2945259560" sldId="275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2945259560" sldId="275"/>
            <ac:spMk id="4" creationId="{3654B757-4EE3-4FA8-97FD-604A680E34B9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4264453257" sldId="276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4264453257" sldId="276"/>
            <ac:spMk id="4" creationId="{13F92005-C7E7-4917-BB87-E02DC4D4A38E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089749849" sldId="277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089749849" sldId="277"/>
            <ac:spMk id="4" creationId="{B14CED1B-5850-42D1-A2F5-F2AF26C38B74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57597033" sldId="278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57597033" sldId="278"/>
            <ac:spMk id="2" creationId="{09D94D99-B5D0-48ED-8B5E-55DEF19EA5DC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478361422" sldId="279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478361422" sldId="279"/>
            <ac:spMk id="2" creationId="{8A1CC20E-8155-4742-A4C9-EED7C0FD1C37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296012343" sldId="280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296012343" sldId="280"/>
            <ac:spMk id="2" creationId="{215CFA46-8470-4CBE-B750-44AE463B41DA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593767470" sldId="282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593767470" sldId="282"/>
            <ac:spMk id="2" creationId="{CFED86EA-2AB6-4E5E-99A9-84C5536BD769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047926592" sldId="283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047926592" sldId="283"/>
            <ac:spMk id="2" creationId="{8329B982-A0B9-4C75-BEA4-20DCAE1EA834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25424288" sldId="284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25424288" sldId="284"/>
            <ac:spMk id="2" creationId="{7915E787-2535-4A81-A8A6-07348E24EF3A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109085612" sldId="285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109085612" sldId="285"/>
            <ac:spMk id="2" creationId="{8284110A-1DE8-4219-B4C4-530BC4C34C94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066749556" sldId="286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066749556" sldId="286"/>
            <ac:spMk id="2" creationId="{086D89F1-508C-4805-AC19-46AD8DD1C133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485362873" sldId="287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485362873" sldId="287"/>
            <ac:spMk id="2" creationId="{F83551F6-7EC1-4405-B8C0-91907D7E3590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4217469223" sldId="288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4217469223" sldId="288"/>
            <ac:spMk id="2" creationId="{FE4E8F15-6149-44E3-B7C8-BDC64609DF37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82391349" sldId="289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82391349" sldId="289"/>
            <ac:spMk id="2" creationId="{1222EE53-32FC-4F11-9098-1E462882BA57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666739374" sldId="290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666739374" sldId="290"/>
            <ac:spMk id="2" creationId="{FBE06561-1A3E-47F1-A1BE-60E8D29CDD73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285346498" sldId="291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285346498" sldId="291"/>
            <ac:spMk id="2" creationId="{F6B519BE-858E-42E1-A4F3-943675071AC5}"/>
          </ac:spMkLst>
        </pc:spChg>
      </pc:sldChg>
      <pc:sldChg chg="addSp delSp modSp">
        <pc:chgData name="Sandra Johnson" userId="dec80153129495dc" providerId="LiveId" clId="{0B80A026-1A72-4389-A0BA-8C423C6210BD}" dt="2017-07-28T16:01:56.142" v="1" actId="478"/>
        <pc:sldMkLst>
          <pc:docMk/>
          <pc:sldMk cId="3041376139" sldId="293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041376139" sldId="293"/>
            <ac:spMk id="2" creationId="{68C1FC51-A2EC-453E-B8CE-F35603D0C11C}"/>
          </ac:spMkLst>
        </pc:spChg>
        <pc:spChg chg="add mod">
          <ac:chgData name="Sandra Johnson" userId="dec80153129495dc" providerId="LiveId" clId="{0B80A026-1A72-4389-A0BA-8C423C6210BD}" dt="2017-07-28T16:01:56.142" v="1" actId="478"/>
          <ac:spMkLst>
            <pc:docMk/>
            <pc:sldMk cId="3041376139" sldId="293"/>
            <ac:spMk id="4" creationId="{DDF52C0F-481E-45AF-B7A3-3F5598B3302A}"/>
          </ac:spMkLst>
        </pc:spChg>
        <pc:spChg chg="del">
          <ac:chgData name="Sandra Johnson" userId="dec80153129495dc" providerId="LiveId" clId="{0B80A026-1A72-4389-A0BA-8C423C6210BD}" dt="2017-07-28T16:01:56.142" v="1" actId="478"/>
          <ac:spMkLst>
            <pc:docMk/>
            <pc:sldMk cId="3041376139" sldId="293"/>
            <ac:spMk id="14" creationId="{ED679621-7148-4290-872A-35BFF18EC819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4145491084" sldId="294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4145491084" sldId="294"/>
            <ac:spMk id="2" creationId="{C99F55A9-FE2A-4D47-B53B-6549B47CF0F1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277912635" sldId="295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277912635" sldId="295"/>
            <ac:spMk id="2" creationId="{DC394D0A-88FC-41CF-A910-A3FAEC647C3A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743451484" sldId="296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743451484" sldId="296"/>
            <ac:spMk id="2" creationId="{0AEAADED-BE1A-4A3D-93F6-7F251DC077E9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4080778875" sldId="297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4080778875" sldId="297"/>
            <ac:spMk id="2" creationId="{404941F5-AAFE-43B6-B8F6-127B66D58883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650448318" sldId="298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650448318" sldId="298"/>
            <ac:spMk id="2" creationId="{E57D3D79-1417-4DD7-85A5-CD20DE039033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618846083" sldId="301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618846083" sldId="301"/>
            <ac:spMk id="3" creationId="{0E9C3DAB-C053-4964-8F3E-9C05A5C00698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460085677" sldId="302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460085677" sldId="302"/>
            <ac:spMk id="2" creationId="{77E361C6-45DC-448E-928C-F22300E09BCE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761092869" sldId="303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761092869" sldId="303"/>
            <ac:spMk id="2" creationId="{294BF17D-6B3E-4E7C-AF22-5C6D4AF44E7A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754623094" sldId="305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754623094" sldId="305"/>
            <ac:spMk id="2" creationId="{14A862B0-7C53-443F-B18E-4E6761FAD331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4230216519" sldId="307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4230216519" sldId="307"/>
            <ac:spMk id="2" creationId="{CA68187E-24E0-4B98-8CD1-352A94E5EEE3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412565503" sldId="310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412565503" sldId="310"/>
            <ac:spMk id="3" creationId="{2F7ECC15-CA64-4825-924C-4ED8EF2F9011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075014117" sldId="311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075014117" sldId="311"/>
            <ac:spMk id="3" creationId="{9B81231B-FAC6-4B68-A69F-2D208119DCA9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986680747" sldId="312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986680747" sldId="312"/>
            <ac:spMk id="3" creationId="{68F923F7-F5F3-4713-8FB8-A4879E6ACE2E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815978431" sldId="313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815978431" sldId="313"/>
            <ac:spMk id="3" creationId="{14C63EAE-C143-4AD0-A56C-D99BF989BB18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2685139138" sldId="314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2685139138" sldId="314"/>
            <ac:spMk id="3" creationId="{865625BD-D52D-4DF1-8D4D-F4B03B57D066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1622320880" sldId="316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1622320880" sldId="316"/>
            <ac:spMk id="2" creationId="{0A588129-F109-44EA-99F8-B3F0D1014068}"/>
          </ac:spMkLst>
        </pc:spChg>
      </pc:sldChg>
      <pc:sldChg chg="addSp delSp modSp">
        <pc:chgData name="Sandra Johnson" userId="dec80153129495dc" providerId="LiveId" clId="{0B80A026-1A72-4389-A0BA-8C423C6210BD}" dt="2017-07-28T16:32:21.691" v="5"/>
        <pc:sldMkLst>
          <pc:docMk/>
          <pc:sldMk cId="2037164336" sldId="318"/>
        </pc:sldMkLst>
        <pc:spChg chg="del">
          <ac:chgData name="Sandra Johnson" userId="dec80153129495dc" providerId="LiveId" clId="{0B80A026-1A72-4389-A0BA-8C423C6210BD}" dt="2017-07-28T16:32:16.334" v="2" actId="478"/>
          <ac:spMkLst>
            <pc:docMk/>
            <pc:sldMk cId="2037164336" sldId="318"/>
            <ac:spMk id="3" creationId="{1E5E04A4-90D7-4320-AA18-B1365650EC0B}"/>
          </ac:spMkLst>
        </pc:spChg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2037164336" sldId="318"/>
            <ac:spMk id="4" creationId="{B41198E1-0D25-42DC-A897-5D083CB9C8BC}"/>
          </ac:spMkLst>
        </pc:spChg>
        <pc:spChg chg="del mod">
          <ac:chgData name="Sandra Johnson" userId="dec80153129495dc" providerId="LiveId" clId="{0B80A026-1A72-4389-A0BA-8C423C6210BD}" dt="2017-07-28T16:32:19.844" v="4" actId="478"/>
          <ac:spMkLst>
            <pc:docMk/>
            <pc:sldMk cId="2037164336" sldId="318"/>
            <ac:spMk id="11" creationId="{F28FFC2A-38BB-4188-AF8D-2E0A31784B96}"/>
          </ac:spMkLst>
        </pc:spChg>
        <pc:grpChg chg="add">
          <ac:chgData name="Sandra Johnson" userId="dec80153129495dc" providerId="LiveId" clId="{0B80A026-1A72-4389-A0BA-8C423C6210BD}" dt="2017-07-28T16:32:21.691" v="5"/>
          <ac:grpSpMkLst>
            <pc:docMk/>
            <pc:sldMk cId="2037164336" sldId="318"/>
            <ac:grpSpMk id="10" creationId="{5405557E-1109-46EF-8981-F3D1D10E76CF}"/>
          </ac:grpSpMkLst>
        </pc:grpChg>
        <pc:picChg chg="del">
          <ac:chgData name="Sandra Johnson" userId="dec80153129495dc" providerId="LiveId" clId="{0B80A026-1A72-4389-A0BA-8C423C6210BD}" dt="2017-07-28T16:32:16.334" v="2" actId="478"/>
          <ac:picMkLst>
            <pc:docMk/>
            <pc:sldMk cId="2037164336" sldId="318"/>
            <ac:picMk id="2" creationId="{87649128-1177-4447-A28C-245BFCCDBB5F}"/>
          </ac:picMkLst>
        </pc:pic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478385006" sldId="320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478385006" sldId="320"/>
            <ac:spMk id="30" creationId="{FEDC7185-89C2-400C-AD27-FF34E2BF3389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791213858" sldId="325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791213858" sldId="325"/>
            <ac:spMk id="5" creationId="{B560D214-462A-4EA9-9CBC-F947CA004899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49275516" sldId="326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49275516" sldId="326"/>
            <ac:spMk id="3" creationId="{BCCA8FDD-A849-4724-9030-E6C74095CFE9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2636440259" sldId="329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2636440259" sldId="329"/>
            <ac:spMk id="6" creationId="{E77DA625-0F86-4521-84EB-6A992423141C}"/>
          </ac:spMkLst>
        </pc:spChg>
      </pc:sldChg>
      <pc:sldChg chg="addSp modSp">
        <pc:chgData name="Sandra Johnson" userId="dec80153129495dc" providerId="LiveId" clId="{0B80A026-1A72-4389-A0BA-8C423C6210BD}" dt="2017-07-28T15:48:13.391" v="0" actId="478"/>
        <pc:sldMkLst>
          <pc:docMk/>
          <pc:sldMk cId="3566492995" sldId="330"/>
        </pc:sldMkLst>
        <pc:spChg chg="add mod">
          <ac:chgData name="Sandra Johnson" userId="dec80153129495dc" providerId="LiveId" clId="{0B80A026-1A72-4389-A0BA-8C423C6210BD}" dt="2017-07-28T15:48:13.391" v="0" actId="478"/>
          <ac:spMkLst>
            <pc:docMk/>
            <pc:sldMk cId="3566492995" sldId="330"/>
            <ac:spMk id="6" creationId="{14C2FCF6-3107-4C35-B19D-7D58591D561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1059E1-8A92-412E-9FFC-46DC2A12AD11}" type="datetimeFigureOut">
              <a:rPr lang="en-US" smtClean="0"/>
              <a:t>1/7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B1AA27-3892-4360-B986-D6B124C223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088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299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053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314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100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6257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993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wmf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wmf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1.w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wmf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w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wmf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1.wmf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1.wmf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1.wmf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1.wmf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1.wmf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wmf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image" Target="../media/image1.wmf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wmf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wmf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wmf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wmf"/><Relationship Id="rId5" Type="http://schemas.openxmlformats.org/officeDocument/2006/relationships/image" Target="../media/image9.jpe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wmf"/><Relationship Id="rId5" Type="http://schemas.openxmlformats.org/officeDocument/2006/relationships/image" Target="../media/image10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1-women-shaking-hands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92F14E2-37A9-4D39-B916-DC1D5C9B6C99}"/>
              </a:ext>
            </a:extLst>
          </p:cNvPr>
          <p:cNvSpPr/>
          <p:nvPr/>
        </p:nvSpPr>
        <p:spPr bwMode="gray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9" name="Optum Care">
            <a:extLst>
              <a:ext uri="{FF2B5EF4-FFF2-40B4-BE49-F238E27FC236}">
                <a16:creationId xmlns:a16="http://schemas.microsoft.com/office/drawing/2014/main" id="{E58EE3BF-624E-4213-AFE2-2A4D5DFB121D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54" y="5843535"/>
            <a:ext cx="2703998" cy="62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721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Vetera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cbarthol\Desktop\Charlotte Work\Tools\PPT\Empower\2019 PPT cover images\10-military-navy-man-doctor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1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8" name="Optum Care">
            <a:extLst>
              <a:ext uri="{FF2B5EF4-FFF2-40B4-BE49-F238E27FC236}">
                <a16:creationId xmlns:a16="http://schemas.microsoft.com/office/drawing/2014/main" id="{E58EE3BF-624E-4213-AFE2-2A4D5DFB121D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54" y="5843535"/>
            <a:ext cx="2703998" cy="62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932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Custom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noFill/>
        </p:spPr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1"/>
            <a:ext cx="8746435" cy="6852106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 algn="ctr" defTabSz="685647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6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3" name="Optum Care">
            <a:extLst>
              <a:ext uri="{FF2B5EF4-FFF2-40B4-BE49-F238E27FC236}">
                <a16:creationId xmlns:a16="http://schemas.microsoft.com/office/drawing/2014/main" id="{E58EE3BF-624E-4213-AFE2-2A4D5DFB121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54" y="5843535"/>
            <a:ext cx="2703998" cy="62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044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CB0713-ABE6-4793-893A-0B492E645CA2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70891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Left"/>
          <p:cNvSpPr>
            <a:spLocks noGrp="1"/>
          </p:cNvSpPr>
          <p:nvPr>
            <p:ph sz="half" idx="1" hasCustomPrompt="1"/>
          </p:nvPr>
        </p:nvSpPr>
        <p:spPr>
          <a:xfrm>
            <a:off x="371475" y="1825626"/>
            <a:ext cx="4143375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sz="half" idx="2" hasCustomPrompt="1"/>
          </p:nvPr>
        </p:nvSpPr>
        <p:spPr>
          <a:xfrm>
            <a:off x="4629150" y="1825626"/>
            <a:ext cx="4245429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9F3EB9D-9B44-418C-9B2E-D32A67A979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39409D-A5D9-4847-AC91-32C29923EA30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65413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Left"/>
          <p:cNvSpPr>
            <a:spLocks noGrp="1"/>
          </p:cNvSpPr>
          <p:nvPr>
            <p:ph sz="half" idx="1" hasCustomPrompt="1"/>
          </p:nvPr>
        </p:nvSpPr>
        <p:spPr>
          <a:xfrm>
            <a:off x="371475" y="1825626"/>
            <a:ext cx="4143375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sz="half" idx="2" hasCustomPrompt="1"/>
          </p:nvPr>
        </p:nvSpPr>
        <p:spPr>
          <a:xfrm>
            <a:off x="4629150" y="1825626"/>
            <a:ext cx="4245429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ubtitle Left"/>
          <p:cNvSpPr>
            <a:spLocks noGrp="1"/>
          </p:cNvSpPr>
          <p:nvPr>
            <p:ph type="body" idx="13" hasCustomPrompt="1"/>
          </p:nvPr>
        </p:nvSpPr>
        <p:spPr>
          <a:xfrm>
            <a:off x="371476" y="1118283"/>
            <a:ext cx="4126706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0" name="Subtitle Right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0" y="1118283"/>
            <a:ext cx="4229100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439D83E-8F81-451B-AAA9-4B273DB3AD0C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54766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F86AC-35FC-45CE-8346-DDDAAAD6A844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38986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E35FC4DD-34A5-4677-832D-B024EEC6EE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CD0C85E-E5B4-4AA3-8A8E-0AED6EE6C968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654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844400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3583647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638783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3" name="Content 1"/>
          <p:cNvSpPr>
            <a:spLocks noGrp="1"/>
          </p:cNvSpPr>
          <p:nvPr>
            <p:ph sz="half" idx="1" hasCustomPrompt="1"/>
          </p:nvPr>
        </p:nvSpPr>
        <p:spPr>
          <a:xfrm>
            <a:off x="458558" y="4405085"/>
            <a:ext cx="2606040" cy="150041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Type </a:t>
            </a:r>
            <a:r>
              <a:rPr lang="en-US" dirty="0" smtClean="0"/>
              <a:t>14 </a:t>
            </a:r>
            <a:r>
              <a:rPr lang="en-US" dirty="0"/>
              <a:t>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2"/>
          <p:cNvSpPr>
            <a:spLocks noGrp="1"/>
          </p:cNvSpPr>
          <p:nvPr>
            <p:ph sz="half" idx="17" hasCustomPrompt="1"/>
          </p:nvPr>
        </p:nvSpPr>
        <p:spPr>
          <a:xfrm>
            <a:off x="3287483" y="4405085"/>
            <a:ext cx="2606040" cy="1500413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Type </a:t>
            </a:r>
            <a:r>
              <a:rPr lang="en-US" dirty="0" smtClean="0"/>
              <a:t>14 </a:t>
            </a:r>
            <a:r>
              <a:rPr lang="en-US" dirty="0"/>
              <a:t>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3"/>
          <p:cNvSpPr>
            <a:spLocks noGrp="1"/>
          </p:cNvSpPr>
          <p:nvPr>
            <p:ph sz="half" idx="18" hasCustomPrompt="1"/>
          </p:nvPr>
        </p:nvSpPr>
        <p:spPr>
          <a:xfrm>
            <a:off x="6087834" y="4405085"/>
            <a:ext cx="2606040" cy="1500413"/>
          </a:xfrm>
        </p:spPr>
        <p:txBody>
          <a:bodyPr/>
          <a:lstStyle>
            <a:lvl1pPr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Type </a:t>
            </a:r>
            <a:r>
              <a:rPr lang="en-US" dirty="0" smtClean="0"/>
              <a:t>14 </a:t>
            </a:r>
            <a:r>
              <a:rPr lang="en-US" dirty="0"/>
              <a:t>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4C26CD5-34F3-447A-AB99-996C787507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7" name="Orange title 1">
            <a:extLst>
              <a:ext uri="{FF2B5EF4-FFF2-40B4-BE49-F238E27FC236}">
                <a16:creationId xmlns:a16="http://schemas.microsoft.com/office/drawing/2014/main" id="{6527FE76-EAF5-46DF-A8B1-057E2E101E6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659" y="3868738"/>
            <a:ext cx="2606040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</a:t>
            </a:r>
            <a:r>
              <a:rPr lang="en-US" dirty="0" smtClean="0"/>
              <a:t>16 </a:t>
            </a:r>
            <a:r>
              <a:rPr lang="en-US" dirty="0"/>
              <a:t>pt orange | Max two lines</a:t>
            </a:r>
          </a:p>
        </p:txBody>
      </p:sp>
      <p:sp>
        <p:nvSpPr>
          <p:cNvPr id="20" name="Orange title 2">
            <a:extLst>
              <a:ext uri="{FF2B5EF4-FFF2-40B4-BE49-F238E27FC236}">
                <a16:creationId xmlns:a16="http://schemas.microsoft.com/office/drawing/2014/main" id="{A3AD66D5-CC76-4534-BE48-B2161A8EDC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87484" y="3868738"/>
            <a:ext cx="2606040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</a:t>
            </a:r>
            <a:r>
              <a:rPr lang="en-US" dirty="0" smtClean="0"/>
              <a:t>16 </a:t>
            </a:r>
            <a:r>
              <a:rPr lang="en-US" dirty="0"/>
              <a:t>pt orange | Max two lines</a:t>
            </a:r>
          </a:p>
        </p:txBody>
      </p:sp>
      <p:sp>
        <p:nvSpPr>
          <p:cNvPr id="21" name="Orange title 3">
            <a:extLst>
              <a:ext uri="{FF2B5EF4-FFF2-40B4-BE49-F238E27FC236}">
                <a16:creationId xmlns:a16="http://schemas.microsoft.com/office/drawing/2014/main" id="{A0AF64BB-0F19-406C-A38C-9774B21BAC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87834" y="3868738"/>
            <a:ext cx="2606040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</a:t>
            </a:r>
            <a:r>
              <a:rPr lang="en-US" dirty="0" smtClean="0"/>
              <a:t>16 </a:t>
            </a:r>
            <a:r>
              <a:rPr lang="en-US" dirty="0"/>
              <a:t>pt orange | Max two lines</a:t>
            </a: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324CEBA1-C439-4556-A736-A42E329FEF95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97467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164592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085635" y="1828799"/>
            <a:ext cx="164592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799796" y="1828799"/>
            <a:ext cx="164592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13956" y="1828799"/>
            <a:ext cx="164592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7228115" y="1828799"/>
            <a:ext cx="1645920" cy="66357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164592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085635" y="2492372"/>
            <a:ext cx="164592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3799796" y="2492372"/>
            <a:ext cx="164592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5513956" y="2492372"/>
            <a:ext cx="164592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5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7228116" y="2492372"/>
            <a:ext cx="164592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B618BD47-FF2D-4F28-A6A1-AC6D6F55AD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| One line</a:t>
            </a: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C3A5804-384E-43D9-AD23-F87D21A4AC2B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95845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20574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517436" y="1828799"/>
            <a:ext cx="20574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663397" y="1828799"/>
            <a:ext cx="20574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809357" y="1828799"/>
            <a:ext cx="205740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2057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517436" y="2492372"/>
            <a:ext cx="2057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4663397" y="2492372"/>
            <a:ext cx="2057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6809357" y="2492372"/>
            <a:ext cx="2057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D8B6576D-BE38-4862-BF49-409F9E9279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Column | One line</a:t>
            </a: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5A479A0-A083-43A5-A32D-E5697C9FDFCB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54437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cbarthol\Desktop\Charlotte Work\Tools\PPT\Empower\2019 PPT cover images\2-women-running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9144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56E36F7-040C-4CF7-A4F3-566C1FB93D13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8" name="Optum Care">
            <a:extLst>
              <a:ext uri="{FF2B5EF4-FFF2-40B4-BE49-F238E27FC236}">
                <a16:creationId xmlns:a16="http://schemas.microsoft.com/office/drawing/2014/main" id="{E58EE3BF-624E-4213-AFE2-2A4D5DFB121D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54" y="5843535"/>
            <a:ext cx="2703998" cy="62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021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6132964" y="2492372"/>
            <a:ext cx="2743200" cy="3413128"/>
          </a:xfrm>
          <a:solidFill>
            <a:srgbClr val="EAEAEA"/>
          </a:solidFill>
        </p:spPr>
        <p:txBody>
          <a:bodyPr lIns="137160" tIns="45720" rIns="137160" bIns="4572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132964" y="1828798"/>
            <a:ext cx="27432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3252220" y="2492372"/>
            <a:ext cx="2743200" cy="3413128"/>
          </a:xfrm>
          <a:solidFill>
            <a:srgbClr val="EAEAEA"/>
          </a:solidFill>
        </p:spPr>
        <p:txBody>
          <a:bodyPr lIns="137160" tIns="45720" rIns="137160" bIns="4572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252220" y="1828798"/>
            <a:ext cx="27432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27432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2CDFF47-ED53-43FD-9BBC-78701BFFA4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 | One line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8689FC4-4D61-4F93-BA61-113C6A0485CF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08537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Column | One line</a:t>
            </a:r>
          </a:p>
        </p:txBody>
      </p:sp>
      <p:sp>
        <p:nvSpPr>
          <p:cNvPr id="8" name="Header Left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4" y="1828801"/>
            <a:ext cx="41148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Header Right"/>
          <p:cNvSpPr>
            <a:spLocks noGrp="1"/>
          </p:cNvSpPr>
          <p:nvPr>
            <p:ph type="body" sz="quarter" idx="16" hasCustomPrompt="1"/>
          </p:nvPr>
        </p:nvSpPr>
        <p:spPr>
          <a:xfrm>
            <a:off x="4735284" y="1828798"/>
            <a:ext cx="41148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Left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4" y="2492372"/>
            <a:ext cx="41148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Right"/>
          <p:cNvSpPr>
            <a:spLocks noGrp="1"/>
          </p:cNvSpPr>
          <p:nvPr>
            <p:ph type="body" sz="quarter" idx="21" hasCustomPrompt="1"/>
          </p:nvPr>
        </p:nvSpPr>
        <p:spPr>
          <a:xfrm>
            <a:off x="4735284" y="2492372"/>
            <a:ext cx="41148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6BDB466E-A2B3-4E9F-A51F-6D8EA5C565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62934472-6B00-4733-8C9A-D11330F6E5E4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05350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Photo | One line</a:t>
            </a:r>
          </a:p>
        </p:txBody>
      </p:sp>
      <p:sp>
        <p:nvSpPr>
          <p:cNvPr id="15" name="Picture L"/>
          <p:cNvSpPr>
            <a:spLocks noGrp="1"/>
          </p:cNvSpPr>
          <p:nvPr>
            <p:ph type="pic" sz="quarter" idx="23" hasCustomPrompt="1"/>
          </p:nvPr>
        </p:nvSpPr>
        <p:spPr>
          <a:xfrm>
            <a:off x="393247" y="1828800"/>
            <a:ext cx="4178753" cy="4076700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  <a:p>
            <a:endParaRPr lang="en-US" dirty="0"/>
          </a:p>
        </p:txBody>
      </p:sp>
      <p:sp>
        <p:nvSpPr>
          <p:cNvPr id="16" name="Text L"/>
          <p:cNvSpPr>
            <a:spLocks noGrp="1"/>
          </p:cNvSpPr>
          <p:nvPr>
            <p:ph type="body" sz="quarter" idx="24" hasCustomPrompt="1"/>
          </p:nvPr>
        </p:nvSpPr>
        <p:spPr>
          <a:xfrm>
            <a:off x="1883228" y="4470400"/>
            <a:ext cx="2688771" cy="1435100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7" name="Picture R"/>
          <p:cNvSpPr>
            <a:spLocks noGrp="1"/>
          </p:cNvSpPr>
          <p:nvPr>
            <p:ph type="pic" sz="quarter" idx="25" hasCustomPrompt="1"/>
          </p:nvPr>
        </p:nvSpPr>
        <p:spPr>
          <a:xfrm>
            <a:off x="4572000" y="1828800"/>
            <a:ext cx="4286250" cy="4076700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  <a:p>
            <a:endParaRPr lang="en-US" dirty="0"/>
          </a:p>
        </p:txBody>
      </p:sp>
      <p:sp>
        <p:nvSpPr>
          <p:cNvPr id="18" name="Text R"/>
          <p:cNvSpPr>
            <a:spLocks noGrp="1"/>
          </p:cNvSpPr>
          <p:nvPr>
            <p:ph type="body" sz="quarter" idx="26" hasCustomPrompt="1"/>
          </p:nvPr>
        </p:nvSpPr>
        <p:spPr>
          <a:xfrm>
            <a:off x="6169914" y="4470400"/>
            <a:ext cx="2688336" cy="1435100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074C1D90-76B1-43FC-A4AD-940B5FED7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11B6E8D6-6C5B-47BF-B8CD-1808FFD53A96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15808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Photo | One line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 hasCustomPrompt="1"/>
          </p:nvPr>
        </p:nvSpPr>
        <p:spPr>
          <a:xfrm>
            <a:off x="385763" y="1828800"/>
            <a:ext cx="2832354" cy="4076700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1100" dirty="0"/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1653241" y="3873724"/>
            <a:ext cx="1558019" cy="2031776"/>
          </a:xfrm>
          <a:solidFill>
            <a:schemeClr val="tx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 hasCustomPrompt="1"/>
          </p:nvPr>
        </p:nvSpPr>
        <p:spPr>
          <a:xfrm>
            <a:off x="3214799" y="1828800"/>
            <a:ext cx="2832354" cy="4076700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6" name="Text 2"/>
          <p:cNvSpPr>
            <a:spLocks noGrp="1"/>
          </p:cNvSpPr>
          <p:nvPr>
            <p:ph type="body" sz="quarter" idx="24" hasCustomPrompt="1"/>
          </p:nvPr>
        </p:nvSpPr>
        <p:spPr>
          <a:xfrm>
            <a:off x="4489134" y="3873724"/>
            <a:ext cx="1558019" cy="2031776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7" name="Picture 3"/>
          <p:cNvSpPr>
            <a:spLocks noGrp="1"/>
          </p:cNvSpPr>
          <p:nvPr>
            <p:ph type="pic" sz="quarter" idx="25" hasCustomPrompt="1"/>
          </p:nvPr>
        </p:nvSpPr>
        <p:spPr>
          <a:xfrm>
            <a:off x="6050554" y="1835374"/>
            <a:ext cx="2832354" cy="4076700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7324889" y="3873724"/>
            <a:ext cx="1558019" cy="2031776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F67FAC8-26AF-48A1-938F-B5C40D744C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53EADF2F-9754-4251-B060-353E9526CC27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35845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Photo | One line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 hasCustomPrompt="1"/>
          </p:nvPr>
        </p:nvSpPr>
        <p:spPr>
          <a:xfrm>
            <a:off x="385763" y="1828801"/>
            <a:ext cx="2114550" cy="2583543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 hasCustomPrompt="1"/>
          </p:nvPr>
        </p:nvSpPr>
        <p:spPr>
          <a:xfrm>
            <a:off x="2500313" y="1828801"/>
            <a:ext cx="2118122" cy="2583543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7" name="Picture 3"/>
          <p:cNvSpPr>
            <a:spLocks noGrp="1"/>
          </p:cNvSpPr>
          <p:nvPr>
            <p:ph type="pic" sz="quarter" idx="25" hasCustomPrompt="1"/>
          </p:nvPr>
        </p:nvSpPr>
        <p:spPr>
          <a:xfrm>
            <a:off x="4618434" y="1826531"/>
            <a:ext cx="2116336" cy="2583543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3" name="Picture 4"/>
          <p:cNvSpPr>
            <a:spLocks noGrp="1"/>
          </p:cNvSpPr>
          <p:nvPr>
            <p:ph type="pic" sz="quarter" idx="27" hasCustomPrompt="1"/>
          </p:nvPr>
        </p:nvSpPr>
        <p:spPr>
          <a:xfrm>
            <a:off x="6732985" y="1826531"/>
            <a:ext cx="2125266" cy="2583543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1404257" y="2971800"/>
            <a:ext cx="1096055" cy="1439408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</a:t>
            </a:r>
            <a:r>
              <a:rPr lang="en-US" dirty="0" smtClean="0"/>
              <a:t>| </a:t>
            </a:r>
            <a:r>
              <a:rPr lang="en-US" dirty="0"/>
              <a:t>Remove if not needed</a:t>
            </a:r>
          </a:p>
        </p:txBody>
      </p:sp>
      <p:sp>
        <p:nvSpPr>
          <p:cNvPr id="16" name="Text 2"/>
          <p:cNvSpPr>
            <a:spLocks noGrp="1"/>
          </p:cNvSpPr>
          <p:nvPr>
            <p:ph type="body" sz="quarter" idx="24" hasCustomPrompt="1"/>
          </p:nvPr>
        </p:nvSpPr>
        <p:spPr>
          <a:xfrm>
            <a:off x="3522379" y="2971800"/>
            <a:ext cx="1096055" cy="1439408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5638714" y="2971800"/>
            <a:ext cx="1096055" cy="1439408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8" hasCustomPrompt="1"/>
          </p:nvPr>
        </p:nvSpPr>
        <p:spPr>
          <a:xfrm>
            <a:off x="7762195" y="2971800"/>
            <a:ext cx="1096055" cy="1439408"/>
          </a:xfrm>
          <a:solidFill>
            <a:schemeClr val="accent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6C1780D9-CEF1-4E3B-B6D6-225DD4E899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B429D42F-849B-4638-8AF5-949163C44DC2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72284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Photo | One line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 hasCustomPrompt="1"/>
          </p:nvPr>
        </p:nvSpPr>
        <p:spPr>
          <a:xfrm>
            <a:off x="385762" y="1826530"/>
            <a:ext cx="1680210" cy="1974142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 hasCustomPrompt="1"/>
          </p:nvPr>
        </p:nvSpPr>
        <p:spPr>
          <a:xfrm>
            <a:off x="2082842" y="1826530"/>
            <a:ext cx="1680210" cy="1974142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7" name="Picture 3"/>
          <p:cNvSpPr>
            <a:spLocks noGrp="1"/>
          </p:cNvSpPr>
          <p:nvPr>
            <p:ph type="pic" sz="quarter" idx="25" hasCustomPrompt="1"/>
          </p:nvPr>
        </p:nvSpPr>
        <p:spPr>
          <a:xfrm>
            <a:off x="3779921" y="1826532"/>
            <a:ext cx="1680210" cy="1974141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3" name="Picture 4"/>
          <p:cNvSpPr>
            <a:spLocks noGrp="1"/>
          </p:cNvSpPr>
          <p:nvPr>
            <p:ph type="pic" sz="quarter" idx="27" hasCustomPrompt="1"/>
          </p:nvPr>
        </p:nvSpPr>
        <p:spPr>
          <a:xfrm>
            <a:off x="5477001" y="1826530"/>
            <a:ext cx="1680210" cy="1974142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9" name="Picture 5"/>
          <p:cNvSpPr>
            <a:spLocks noGrp="1"/>
          </p:cNvSpPr>
          <p:nvPr>
            <p:ph type="pic" sz="quarter" idx="29" hasCustomPrompt="1"/>
          </p:nvPr>
        </p:nvSpPr>
        <p:spPr>
          <a:xfrm>
            <a:off x="7174081" y="1826530"/>
            <a:ext cx="1680210" cy="1974142"/>
          </a:xfrm>
          <a:solidFill>
            <a:srgbClr val="EAEAEA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1228452" y="2700790"/>
            <a:ext cx="837520" cy="1099883"/>
          </a:xfrm>
          <a:solidFill>
            <a:schemeClr val="tx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 |</a:t>
            </a:r>
            <a:br>
              <a:rPr lang="en-US" dirty="0"/>
            </a:br>
            <a:r>
              <a:rPr lang="en-US" dirty="0"/>
              <a:t>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6" name="Text 2"/>
          <p:cNvSpPr>
            <a:spLocks noGrp="1"/>
          </p:cNvSpPr>
          <p:nvPr>
            <p:ph type="body" sz="quarter" idx="24" hasCustomPrompt="1"/>
          </p:nvPr>
        </p:nvSpPr>
        <p:spPr>
          <a:xfrm>
            <a:off x="2925532" y="2700790"/>
            <a:ext cx="837520" cy="1099883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4622612" y="2700790"/>
            <a:ext cx="837520" cy="1099883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8" hasCustomPrompt="1"/>
          </p:nvPr>
        </p:nvSpPr>
        <p:spPr>
          <a:xfrm>
            <a:off x="6319692" y="2700790"/>
            <a:ext cx="837520" cy="1099883"/>
          </a:xfrm>
          <a:solidFill>
            <a:schemeClr val="accent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20" name="Text 5"/>
          <p:cNvSpPr>
            <a:spLocks noGrp="1"/>
          </p:cNvSpPr>
          <p:nvPr>
            <p:ph type="body" sz="quarter" idx="30" hasCustomPrompt="1"/>
          </p:nvPr>
        </p:nvSpPr>
        <p:spPr>
          <a:xfrm>
            <a:off x="7996578" y="2700790"/>
            <a:ext cx="837520" cy="1099883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2E67BFEE-381A-4A6D-8DFD-43CABE625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893C7C08-C253-4916-B838-8FEC0E73DD65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56993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icon | 1 line</a:t>
            </a:r>
          </a:p>
        </p:txBody>
      </p:sp>
      <p:sp>
        <p:nvSpPr>
          <p:cNvPr id="8" name="Header or icon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7"/>
            <a:ext cx="1645920" cy="197031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7" name="Header or icon 2"/>
          <p:cNvSpPr>
            <a:spLocks noGrp="1"/>
          </p:cNvSpPr>
          <p:nvPr>
            <p:ph type="body" sz="quarter" idx="15" hasCustomPrompt="1"/>
          </p:nvPr>
        </p:nvSpPr>
        <p:spPr>
          <a:xfrm>
            <a:off x="2085635" y="1828798"/>
            <a:ext cx="1645920" cy="197031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8" name="Header or icon 3"/>
          <p:cNvSpPr>
            <a:spLocks noGrp="1"/>
          </p:cNvSpPr>
          <p:nvPr>
            <p:ph type="body" sz="quarter" idx="16" hasCustomPrompt="1"/>
          </p:nvPr>
        </p:nvSpPr>
        <p:spPr>
          <a:xfrm>
            <a:off x="3799796" y="1828798"/>
            <a:ext cx="1645920" cy="197031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9" name="Header or icon 4"/>
          <p:cNvSpPr>
            <a:spLocks noGrp="1"/>
          </p:cNvSpPr>
          <p:nvPr>
            <p:ph type="body" sz="quarter" idx="17" hasCustomPrompt="1"/>
          </p:nvPr>
        </p:nvSpPr>
        <p:spPr>
          <a:xfrm>
            <a:off x="5513956" y="1828798"/>
            <a:ext cx="1645920" cy="197031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0" name="Header or icon 5"/>
          <p:cNvSpPr>
            <a:spLocks noGrp="1"/>
          </p:cNvSpPr>
          <p:nvPr>
            <p:ph type="body" sz="quarter" idx="18" hasCustomPrompt="1"/>
          </p:nvPr>
        </p:nvSpPr>
        <p:spPr>
          <a:xfrm>
            <a:off x="7228115" y="1828798"/>
            <a:ext cx="1645920" cy="197031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3799114"/>
            <a:ext cx="164592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7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081553" y="3799114"/>
            <a:ext cx="164592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3791631" y="3799114"/>
            <a:ext cx="164592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9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1709" y="3799114"/>
            <a:ext cx="164592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0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7211787" y="3799114"/>
            <a:ext cx="164592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1631B6F8-C198-462C-AF03-A48233B06B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937EF4F6-6568-44B4-88C1-49E41F4F289F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80061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icon | 1 line</a:t>
            </a:r>
          </a:p>
        </p:txBody>
      </p:sp>
      <p:sp>
        <p:nvSpPr>
          <p:cNvPr id="8" name="Header or icon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61456"/>
            <a:ext cx="1273088" cy="130759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</a:t>
            </a:r>
            <a:r>
              <a:rPr lang="en-US" dirty="0" smtClean="0"/>
              <a:t>. To  </a:t>
            </a:r>
            <a:r>
              <a:rPr lang="en-US" dirty="0"/>
              <a:t>remove text, place cursor then </a:t>
            </a:r>
            <a:r>
              <a:rPr lang="en-US" dirty="0" smtClean="0"/>
              <a:t>hit </a:t>
            </a:r>
            <a:r>
              <a:rPr lang="en-US" dirty="0"/>
              <a:t>space bar.]</a:t>
            </a:r>
          </a:p>
        </p:txBody>
      </p:sp>
      <p:sp>
        <p:nvSpPr>
          <p:cNvPr id="28" name="Header or icon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3223758"/>
            <a:ext cx="1273088" cy="130759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r>
              <a:rPr lang="en-US" dirty="0" smtClean="0"/>
              <a:t>To  </a:t>
            </a:r>
            <a:r>
              <a:rPr lang="en-US" dirty="0"/>
              <a:t>remove text, place cursor then </a:t>
            </a:r>
            <a:r>
              <a:rPr lang="en-US" dirty="0" smtClean="0"/>
              <a:t>hit </a:t>
            </a:r>
            <a:r>
              <a:rPr lang="en-US" dirty="0"/>
              <a:t>space bar.]</a:t>
            </a:r>
          </a:p>
        </p:txBody>
      </p:sp>
      <p:sp>
        <p:nvSpPr>
          <p:cNvPr id="29" name="Header or icon 3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4586060"/>
            <a:ext cx="1273088" cy="130759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r>
              <a:rPr lang="en-US" dirty="0" smtClean="0"/>
              <a:t>To  </a:t>
            </a:r>
            <a:r>
              <a:rPr lang="en-US" dirty="0"/>
              <a:t>remove text, place cursor then </a:t>
            </a:r>
            <a:r>
              <a:rPr lang="en-US" dirty="0" smtClean="0"/>
              <a:t>hit </a:t>
            </a:r>
            <a:r>
              <a:rPr lang="en-US" dirty="0"/>
              <a:t>space bar.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738653" y="1861456"/>
            <a:ext cx="7116876" cy="1280160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6 </a:t>
            </a:r>
            <a:r>
              <a:rPr lang="en-US" dirty="0"/>
              <a:t>pt, hit return then Tab to get to level 2 – </a:t>
            </a:r>
            <a:r>
              <a:rPr lang="en-US" dirty="0" smtClean="0"/>
              <a:t>14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738653" y="3242808"/>
            <a:ext cx="7116876" cy="1280160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6 </a:t>
            </a:r>
            <a:r>
              <a:rPr lang="en-US" dirty="0"/>
              <a:t>pt, hit return then Tab to get to level 2 – </a:t>
            </a:r>
            <a:r>
              <a:rPr lang="en-US" dirty="0" smtClean="0"/>
              <a:t>14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738653" y="4624161"/>
            <a:ext cx="7116876" cy="1280160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6 </a:t>
            </a:r>
            <a:r>
              <a:rPr lang="en-US" dirty="0"/>
              <a:t>pt, hit return then Tab to get to level 2 – </a:t>
            </a:r>
            <a:r>
              <a:rPr lang="en-US" dirty="0" smtClean="0"/>
              <a:t>14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7CB5724-7345-4477-B6C2-91683C0C2C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8520838D-7F4B-4C66-A002-92CAAE715235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347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icon | 1 line</a:t>
            </a:r>
          </a:p>
        </p:txBody>
      </p:sp>
      <p:sp>
        <p:nvSpPr>
          <p:cNvPr id="8" name="Icon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61456"/>
            <a:ext cx="1275588" cy="98755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r>
              <a:rPr lang="en-US" dirty="0" smtClean="0"/>
              <a:t>To  </a:t>
            </a:r>
            <a:r>
              <a:rPr lang="en-US" dirty="0"/>
              <a:t>remove text, </a:t>
            </a:r>
            <a:br>
              <a:rPr lang="en-US" dirty="0"/>
            </a:br>
            <a:r>
              <a:rPr lang="en-US" dirty="0"/>
              <a:t>place cursor then </a:t>
            </a:r>
            <a:r>
              <a:rPr lang="en-US" dirty="0" smtClean="0"/>
              <a:t>hit </a:t>
            </a:r>
            <a:r>
              <a:rPr lang="en-US" dirty="0"/>
              <a:t>space bar.]</a:t>
            </a:r>
          </a:p>
        </p:txBody>
      </p:sp>
      <p:sp>
        <p:nvSpPr>
          <p:cNvPr id="28" name="Icon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887905"/>
            <a:ext cx="1275588" cy="98755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r>
              <a:rPr lang="en-US" dirty="0" smtClean="0"/>
              <a:t>To  </a:t>
            </a:r>
            <a:r>
              <a:rPr lang="en-US" dirty="0"/>
              <a:t>remove text, </a:t>
            </a:r>
            <a:br>
              <a:rPr lang="en-US" dirty="0"/>
            </a:br>
            <a:r>
              <a:rPr lang="en-US" dirty="0"/>
              <a:t>place cursor then </a:t>
            </a:r>
            <a:r>
              <a:rPr lang="en-US" dirty="0" smtClean="0"/>
              <a:t>hit </a:t>
            </a:r>
            <a:r>
              <a:rPr lang="en-US" dirty="0"/>
              <a:t>space bar.]</a:t>
            </a:r>
          </a:p>
        </p:txBody>
      </p:sp>
      <p:sp>
        <p:nvSpPr>
          <p:cNvPr id="29" name="Icon 3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3914354"/>
            <a:ext cx="1275588" cy="98755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r>
              <a:rPr lang="en-US" dirty="0" smtClean="0"/>
              <a:t>To  </a:t>
            </a:r>
            <a:r>
              <a:rPr lang="en-US" dirty="0"/>
              <a:t>remove text, </a:t>
            </a:r>
            <a:br>
              <a:rPr lang="en-US" dirty="0"/>
            </a:br>
            <a:r>
              <a:rPr lang="en-US" dirty="0"/>
              <a:t>place cursor then </a:t>
            </a:r>
            <a:r>
              <a:rPr lang="en-US" dirty="0" smtClean="0"/>
              <a:t>hit </a:t>
            </a:r>
            <a:r>
              <a:rPr lang="en-US" dirty="0"/>
              <a:t>space bar.]</a:t>
            </a:r>
          </a:p>
        </p:txBody>
      </p:sp>
      <p:sp>
        <p:nvSpPr>
          <p:cNvPr id="13" name="Icon 4"/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4940802"/>
            <a:ext cx="1275588" cy="987552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r>
              <a:rPr lang="en-US" dirty="0" smtClean="0"/>
              <a:t>To  </a:t>
            </a:r>
            <a:r>
              <a:rPr lang="en-US" dirty="0"/>
              <a:t>remove text, </a:t>
            </a:r>
            <a:br>
              <a:rPr lang="en-US" dirty="0"/>
            </a:br>
            <a:r>
              <a:rPr lang="en-US" dirty="0"/>
              <a:t>place cursor then </a:t>
            </a:r>
            <a:r>
              <a:rPr lang="en-US" dirty="0" smtClean="0"/>
              <a:t>hit </a:t>
            </a:r>
            <a:r>
              <a:rPr lang="en-US" dirty="0"/>
              <a:t>space bar.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709737" y="1861456"/>
            <a:ext cx="7145792" cy="987552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6 </a:t>
            </a:r>
            <a:r>
              <a:rPr lang="en-US" dirty="0"/>
              <a:t>pt, hit return then Tab to get to level 2 – </a:t>
            </a:r>
            <a:r>
              <a:rPr lang="en-US" dirty="0" smtClean="0"/>
              <a:t>14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709737" y="2888302"/>
            <a:ext cx="7145792" cy="987552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6 </a:t>
            </a:r>
            <a:r>
              <a:rPr lang="en-US" dirty="0"/>
              <a:t>pt, hit return then Tab to get to level 2 – </a:t>
            </a:r>
            <a:r>
              <a:rPr lang="en-US" dirty="0" smtClean="0"/>
              <a:t>14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712458" y="3914354"/>
            <a:ext cx="7145792" cy="987552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6 </a:t>
            </a:r>
            <a:r>
              <a:rPr lang="en-US" dirty="0"/>
              <a:t>pt, hit return then Tab to get to level 2 – </a:t>
            </a:r>
            <a:r>
              <a:rPr lang="en-US" dirty="0" smtClean="0"/>
              <a:t>14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1712458" y="4940406"/>
            <a:ext cx="7145792" cy="987552"/>
          </a:xfrm>
        </p:spPr>
        <p:txBody>
          <a:bodyPr lIns="137160" tIns="91440" rIns="137160" bIns="91440"/>
          <a:lstStyle>
            <a:lvl1pPr>
              <a:defRPr sz="1600"/>
            </a:lvl1pPr>
            <a:lvl2pPr marL="176213" indent="-176213">
              <a:defRPr sz="14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6 </a:t>
            </a:r>
            <a:r>
              <a:rPr lang="en-US" dirty="0"/>
              <a:t>pt, hit return then Tab to get to level 2 – </a:t>
            </a:r>
            <a:r>
              <a:rPr lang="en-US" dirty="0" smtClean="0"/>
              <a:t>14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89CC0DE-8E88-4C4F-BBB8-CB102DA4C7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E696AF-BBC5-4783-9F3A-6F54C12FDEE2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85039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icon | 1 line</a:t>
            </a:r>
          </a:p>
        </p:txBody>
      </p:sp>
      <p:sp>
        <p:nvSpPr>
          <p:cNvPr id="8" name="Icon 1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6" y="1861456"/>
            <a:ext cx="787853" cy="76809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Delete this text  and place icon here]</a:t>
            </a:r>
            <a:endParaRPr lang="en-US" dirty="0"/>
          </a:p>
        </p:txBody>
      </p:sp>
      <p:sp>
        <p:nvSpPr>
          <p:cNvPr id="28" name="Icon 2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2681880"/>
            <a:ext cx="787853" cy="76809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Delete this text  and place icon here]</a:t>
            </a:r>
            <a:endParaRPr lang="en-US" dirty="0"/>
          </a:p>
        </p:txBody>
      </p:sp>
      <p:sp>
        <p:nvSpPr>
          <p:cNvPr id="29" name="Icon 3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6" y="3502304"/>
            <a:ext cx="787853" cy="76809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Delete this text  and place icon here]</a:t>
            </a:r>
            <a:endParaRPr lang="en-US" dirty="0"/>
          </a:p>
        </p:txBody>
      </p:sp>
      <p:sp>
        <p:nvSpPr>
          <p:cNvPr id="13" name="Icon 4"/>
          <p:cNvSpPr>
            <a:spLocks noGrp="1"/>
          </p:cNvSpPr>
          <p:nvPr>
            <p:ph type="body" sz="quarter" idx="21" hasCustomPrompt="1"/>
          </p:nvPr>
        </p:nvSpPr>
        <p:spPr>
          <a:xfrm>
            <a:off x="371476" y="4322728"/>
            <a:ext cx="787853" cy="76809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Delete this text  and place icon here]</a:t>
            </a:r>
            <a:endParaRPr lang="en-US" dirty="0"/>
          </a:p>
        </p:txBody>
      </p:sp>
      <p:sp>
        <p:nvSpPr>
          <p:cNvPr id="15" name="Icon 5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6" y="5143150"/>
            <a:ext cx="787853" cy="76809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Delete this text  and place icon here]</a:t>
            </a:r>
            <a:endParaRPr lang="en-US" dirty="0"/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221922" y="1861456"/>
            <a:ext cx="7633607" cy="768096"/>
          </a:xfrm>
        </p:spPr>
        <p:txBody>
          <a:bodyPr lIns="137160" tIns="91440" rIns="137160" bIns="91440"/>
          <a:lstStyle>
            <a:lvl1pPr>
              <a:defRPr sz="1400"/>
            </a:lvl1pPr>
            <a:lvl2pPr marL="176213" indent="-176213">
              <a:defRPr sz="12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4 </a:t>
            </a:r>
            <a:r>
              <a:rPr lang="en-US" dirty="0"/>
              <a:t>pt, hit return then Tab to get to level 2 – </a:t>
            </a:r>
            <a:r>
              <a:rPr lang="en-US" dirty="0" smtClean="0"/>
              <a:t>12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224643" y="2679568"/>
            <a:ext cx="7633607" cy="768096"/>
          </a:xfrm>
        </p:spPr>
        <p:txBody>
          <a:bodyPr lIns="137160" tIns="91440" rIns="137160" bIns="91440"/>
          <a:lstStyle>
            <a:lvl1pPr>
              <a:defRPr sz="1400"/>
            </a:lvl1pPr>
            <a:lvl2pPr marL="176213" indent="-176213">
              <a:defRPr sz="12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4 </a:t>
            </a:r>
            <a:r>
              <a:rPr lang="en-US" dirty="0"/>
              <a:t>pt, hit return then Tab to get to level 2 – </a:t>
            </a:r>
            <a:r>
              <a:rPr lang="en-US" dirty="0" smtClean="0"/>
              <a:t>12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224643" y="3497680"/>
            <a:ext cx="7633607" cy="768096"/>
          </a:xfrm>
        </p:spPr>
        <p:txBody>
          <a:bodyPr lIns="137160" tIns="91440" rIns="137160" bIns="91440"/>
          <a:lstStyle>
            <a:lvl1pPr>
              <a:defRPr sz="1400"/>
            </a:lvl1pPr>
            <a:lvl2pPr marL="176213" indent="-176213">
              <a:defRPr sz="12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4 </a:t>
            </a:r>
            <a:r>
              <a:rPr lang="en-US" dirty="0"/>
              <a:t>pt, hit return then Tab to get to level 2 – </a:t>
            </a:r>
            <a:r>
              <a:rPr lang="en-US" dirty="0" smtClean="0"/>
              <a:t>12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1221922" y="4315792"/>
            <a:ext cx="7633607" cy="768096"/>
          </a:xfrm>
        </p:spPr>
        <p:txBody>
          <a:bodyPr lIns="137160" tIns="91440" rIns="137160" bIns="91440"/>
          <a:lstStyle>
            <a:lvl1pPr>
              <a:defRPr sz="1400"/>
            </a:lvl1pPr>
            <a:lvl2pPr marL="176213" indent="-176213">
              <a:defRPr sz="12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4 </a:t>
            </a:r>
            <a:r>
              <a:rPr lang="en-US" dirty="0"/>
              <a:t>pt, hit return then Tab to get to level 2 – </a:t>
            </a:r>
            <a:r>
              <a:rPr lang="en-US" dirty="0" smtClean="0"/>
              <a:t>12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5"/>
          <p:cNvSpPr>
            <a:spLocks noGrp="1"/>
          </p:cNvSpPr>
          <p:nvPr>
            <p:ph type="body" sz="quarter" idx="24" hasCustomPrompt="1"/>
          </p:nvPr>
        </p:nvSpPr>
        <p:spPr>
          <a:xfrm>
            <a:off x="1224643" y="5133905"/>
            <a:ext cx="7633607" cy="768096"/>
          </a:xfrm>
        </p:spPr>
        <p:txBody>
          <a:bodyPr lIns="137160" tIns="91440" rIns="137160" bIns="91440"/>
          <a:lstStyle>
            <a:lvl1pPr>
              <a:defRPr sz="1400"/>
            </a:lvl1pPr>
            <a:lvl2pPr marL="176213" indent="-176213">
              <a:defRPr sz="1200"/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4 </a:t>
            </a:r>
            <a:r>
              <a:rPr lang="en-US" dirty="0"/>
              <a:t>pt, hit return then Tab to get to level 2 – </a:t>
            </a:r>
            <a:r>
              <a:rPr lang="en-US" dirty="0" smtClean="0"/>
              <a:t>12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0B0E6FC2-94CC-4D51-BB6C-453695373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5874DB9-744B-452C-99FD-AF7788F16D37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62845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cbarthol\Desktop\Charlotte Work\Tools\PPT\Empower\2019 PPT cover images\3-hallway-nurse-doctor-tablet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3999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8" name="Optum Care">
            <a:extLst>
              <a:ext uri="{FF2B5EF4-FFF2-40B4-BE49-F238E27FC236}">
                <a16:creationId xmlns:a16="http://schemas.microsoft.com/office/drawing/2014/main" id="{E58EE3BF-624E-4213-AFE2-2A4D5DFB121D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54" y="5843535"/>
            <a:ext cx="2703998" cy="62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021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w/photo | 1 line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6"/>
            <a:ext cx="5572126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8 </a:t>
            </a:r>
            <a:r>
              <a:rPr lang="en-US" dirty="0"/>
              <a:t>pt, hit return then Tab to get to level 2 – </a:t>
            </a:r>
            <a:r>
              <a:rPr lang="en-US" dirty="0" smtClean="0"/>
              <a:t>16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3242808"/>
            <a:ext cx="5572126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8 </a:t>
            </a:r>
            <a:r>
              <a:rPr lang="en-US" dirty="0"/>
              <a:t>pt, hit return then Tab to get to level 2 – </a:t>
            </a:r>
            <a:r>
              <a:rPr lang="en-US" dirty="0" smtClean="0"/>
              <a:t>16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4624161"/>
            <a:ext cx="5572126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8 </a:t>
            </a:r>
            <a:r>
              <a:rPr lang="en-US" dirty="0"/>
              <a:t>pt, hit return then Tab to get to level 2 – </a:t>
            </a:r>
            <a:r>
              <a:rPr lang="en-US" dirty="0" smtClean="0"/>
              <a:t>16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FB6B105E-21BF-4886-A4F3-142D6B3B2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0" name="Photo">
            <a:extLst>
              <a:ext uri="{FF2B5EF4-FFF2-40B4-BE49-F238E27FC236}">
                <a16:creationId xmlns:a16="http://schemas.microsoft.com/office/drawing/2014/main" id="{9124275B-1008-4B2B-AB84-BAC87DC37F5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22975" y="1862138"/>
            <a:ext cx="2832100" cy="4042183"/>
          </a:xfrm>
          <a:blipFill>
            <a:blip r:embed="rId6"/>
            <a:stretch>
              <a:fillRect l="-29623" t="-14" r="639"/>
            </a:stretch>
          </a:blipFill>
        </p:spPr>
        <p:txBody>
          <a:bodyPr lIns="0" tIns="182880"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US" sz="1200" dirty="0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4C1210C-8D9E-48D5-9261-DCE9AFCC4D99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46811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w/photo | 1 line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7"/>
            <a:ext cx="5572125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8 </a:t>
            </a:r>
            <a:r>
              <a:rPr lang="en-US" dirty="0"/>
              <a:t>pt, hit return then Tab to get to level 2 – </a:t>
            </a:r>
            <a:r>
              <a:rPr lang="en-US" dirty="0" smtClean="0"/>
              <a:t>16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889431"/>
            <a:ext cx="5572125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8 </a:t>
            </a:r>
            <a:r>
              <a:rPr lang="en-US" dirty="0"/>
              <a:t>pt, hit return then Tab to get to level 2 – </a:t>
            </a:r>
            <a:r>
              <a:rPr lang="en-US" dirty="0" smtClean="0"/>
              <a:t>16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3917405"/>
            <a:ext cx="5572125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8 </a:t>
            </a:r>
            <a:r>
              <a:rPr lang="en-US" dirty="0"/>
              <a:t>pt, hit return then Tab to get to level 2 – </a:t>
            </a:r>
            <a:r>
              <a:rPr lang="en-US" dirty="0" smtClean="0"/>
              <a:t>16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4945380"/>
            <a:ext cx="5572125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</a:t>
            </a:r>
            <a:r>
              <a:rPr lang="en-US" dirty="0" smtClean="0"/>
              <a:t>18 </a:t>
            </a:r>
            <a:r>
              <a:rPr lang="en-US" dirty="0"/>
              <a:t>pt, hit return then Tab to get to level 2 – </a:t>
            </a:r>
            <a:r>
              <a:rPr lang="en-US" dirty="0" smtClean="0"/>
              <a:t>16 </a:t>
            </a:r>
            <a:r>
              <a:rPr lang="en-US" dirty="0"/>
              <a:t>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DAC82A9-851F-41ED-8839-FC7966AE0D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5" name="Photo">
            <a:extLst>
              <a:ext uri="{FF2B5EF4-FFF2-40B4-BE49-F238E27FC236}">
                <a16:creationId xmlns:a16="http://schemas.microsoft.com/office/drawing/2014/main" id="{7F3D4019-DCDF-4857-847C-9573F0C1B01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22975" y="1862138"/>
            <a:ext cx="2832100" cy="4042183"/>
          </a:xfrm>
          <a:blipFill>
            <a:blip r:embed="rId6"/>
            <a:stretch>
              <a:fillRect l="-29623" t="-14" r="639"/>
            </a:stretch>
          </a:blipFill>
        </p:spPr>
        <p:txBody>
          <a:bodyPr lIns="0" tIns="274320"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US" sz="1200" dirty="0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148919CF-1810-49BB-A65C-5ABC038D21D3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425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w/photo | case | 1 line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8"/>
            <a:ext cx="5572125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696210"/>
            <a:ext cx="5572125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3530962"/>
            <a:ext cx="5572125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4365714"/>
            <a:ext cx="5572125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5200468"/>
            <a:ext cx="5572125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43BFB9B1-1EFA-44DF-8290-51EAEBD9BE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6" name="Photo">
            <a:extLst>
              <a:ext uri="{FF2B5EF4-FFF2-40B4-BE49-F238E27FC236}">
                <a16:creationId xmlns:a16="http://schemas.microsoft.com/office/drawing/2014/main" id="{BCD7420F-31EF-411E-818F-128E1835AA9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22975" y="1862138"/>
            <a:ext cx="2832100" cy="4042183"/>
          </a:xfrm>
          <a:blipFill>
            <a:blip r:embed="rId6"/>
            <a:stretch>
              <a:fillRect l="-29623" t="-14" r="639"/>
            </a:stretch>
          </a:blipFill>
        </p:spPr>
        <p:txBody>
          <a:bodyPr lIns="0" tIns="274320"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US" sz="1200" dirty="0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0" y="1104900"/>
            <a:ext cx="8588829" cy="51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3757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6348945"/>
            <a:ext cx="2286000" cy="509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6324600"/>
            <a:ext cx="5984422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1A2F90CF-1B48-47A4-97C6-B97B28CC6412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182419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709F9-43F2-4A4B-9CDF-049534DE9E08}" type="datetime1">
              <a:rPr lang="en-US" smtClean="0"/>
              <a:t>1/7/2021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Optum Care">
            <a:extLst>
              <a:ext uri="{FF2B5EF4-FFF2-40B4-BE49-F238E27FC236}">
                <a16:creationId xmlns:a16="http://schemas.microsoft.com/office/drawing/2014/main" id="{F6AE2408-6150-43FA-BE3D-00B4F83DE824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26" y="6173220"/>
            <a:ext cx="1888323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92241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8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1" name="Optum Care">
            <a:extLst>
              <a:ext uri="{FF2B5EF4-FFF2-40B4-BE49-F238E27FC236}">
                <a16:creationId xmlns:a16="http://schemas.microsoft.com/office/drawing/2014/main" id="{F6AE2408-6150-43FA-BE3D-00B4F83DE824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26" y="6173220"/>
            <a:ext cx="1888323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998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8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2" name="Optum Care">
            <a:extLst>
              <a:ext uri="{FF2B5EF4-FFF2-40B4-BE49-F238E27FC236}">
                <a16:creationId xmlns:a16="http://schemas.microsoft.com/office/drawing/2014/main" id="{F6AE2408-6150-43FA-BE3D-00B4F83DE824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26" y="6173220"/>
            <a:ext cx="1888323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753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8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1" name="Optum Care">
            <a:extLst>
              <a:ext uri="{FF2B5EF4-FFF2-40B4-BE49-F238E27FC236}">
                <a16:creationId xmlns:a16="http://schemas.microsoft.com/office/drawing/2014/main" id="{F6AE2408-6150-43FA-BE3D-00B4F83DE824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26" y="6173220"/>
            <a:ext cx="1888323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399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8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5" name="Optum Care">
            <a:extLst>
              <a:ext uri="{FF2B5EF4-FFF2-40B4-BE49-F238E27FC236}">
                <a16:creationId xmlns:a16="http://schemas.microsoft.com/office/drawing/2014/main" id="{F6AE2408-6150-43FA-BE3D-00B4F83DE824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26" y="6173220"/>
            <a:ext cx="1888323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32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5762" y="1104901"/>
            <a:ext cx="4033838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>
          <a:xfrm>
            <a:off x="385762" y="4122058"/>
            <a:ext cx="4033838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0" name="Photo">
            <a:extLst>
              <a:ext uri="{FF2B5EF4-FFF2-40B4-BE49-F238E27FC236}">
                <a16:creationId xmlns:a16="http://schemas.microsoft.com/office/drawing/2014/main" id="{8268283A-D91D-4D73-9EBF-3B34754D95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00575" y="0"/>
            <a:ext cx="4733925" cy="6858000"/>
          </a:xfrm>
          <a:blipFill>
            <a:blip r:embed="rId5"/>
            <a:stretch>
              <a:fillRect r="-17304"/>
            </a:stretch>
          </a:blipFill>
        </p:spPr>
        <p:txBody>
          <a:bodyPr tIns="548640" anchor="t" anchorCtr="0"/>
          <a:lstStyle>
            <a:lvl1pPr marL="0" marR="0" indent="0" algn="ctr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lvl1pPr>
          </a:lstStyle>
          <a:p>
            <a:endParaRPr lang="en-US" dirty="0"/>
          </a:p>
        </p:txBody>
      </p:sp>
      <p:sp>
        <p:nvSpPr>
          <p:cNvPr id="9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6" name="Optum Care">
            <a:extLst>
              <a:ext uri="{FF2B5EF4-FFF2-40B4-BE49-F238E27FC236}">
                <a16:creationId xmlns:a16="http://schemas.microsoft.com/office/drawing/2014/main" id="{F6AE2408-6150-43FA-BE3D-00B4F83DE824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26" y="6173220"/>
            <a:ext cx="1888323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842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IO_LOGOPLACEHOLDER#CenterBigStandard" hidden="1">
            <a:extLst>
              <a:ext uri="{FF2B5EF4-FFF2-40B4-BE49-F238E27FC236}">
                <a16:creationId xmlns:a16="http://schemas.microsoft.com/office/drawing/2014/main" id="{1733AA78-4AB3-4ED8-9E4B-FCB722703EAD}"/>
              </a:ext>
            </a:extLst>
          </p:cNvPr>
          <p:cNvSpPr/>
          <p:nvPr userDrawn="1"/>
        </p:nvSpPr>
        <p:spPr>
          <a:xfrm>
            <a:off x="1755321" y="1828800"/>
            <a:ext cx="5723165" cy="2857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7" name="OptumCare">
            <a:extLst>
              <a:ext uri="{FF2B5EF4-FFF2-40B4-BE49-F238E27FC236}">
                <a16:creationId xmlns:a16="http://schemas.microsoft.com/office/drawing/2014/main" id="{871C6CAD-FC13-4935-A8CD-5F042146013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612" y="2117164"/>
            <a:ext cx="5898777" cy="1966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462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cbarthol\Desktop\Charlotte Work\Tools\PPT\Empower\2019 PPT cover images\4-father-child-doctor-laptop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8" name="Optum Care">
            <a:extLst>
              <a:ext uri="{FF2B5EF4-FFF2-40B4-BE49-F238E27FC236}">
                <a16:creationId xmlns:a16="http://schemas.microsoft.com/office/drawing/2014/main" id="{E58EE3BF-624E-4213-AFE2-2A4D5DFB121D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54" y="5843535"/>
            <a:ext cx="2703998" cy="62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071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aker name"/>
          <p:cNvSpPr>
            <a:spLocks noGrp="1"/>
          </p:cNvSpPr>
          <p:nvPr>
            <p:ph type="title" hasCustomPrompt="1"/>
          </p:nvPr>
        </p:nvSpPr>
        <p:spPr bwMode="gray">
          <a:xfrm>
            <a:off x="385762" y="3904343"/>
            <a:ext cx="5383666" cy="482887"/>
          </a:xfrm>
        </p:spPr>
        <p:txBody>
          <a:bodyPr anchor="b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Speaker 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452943"/>
            <a:ext cx="5383666" cy="325534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Phone/email"/>
          <p:cNvSpPr>
            <a:spLocks noGrp="1"/>
          </p:cNvSpPr>
          <p:nvPr>
            <p:ph type="body" idx="10" hasCustomPrompt="1"/>
          </p:nvPr>
        </p:nvSpPr>
        <p:spPr bwMode="gray">
          <a:xfrm>
            <a:off x="385761" y="4855804"/>
            <a:ext cx="5383666" cy="365125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: 123.456.789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 userDrawn="1"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6" name="Thank you or main 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638629"/>
            <a:ext cx="5385816" cy="2559019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closing language</a:t>
            </a:r>
            <a:endParaRPr lang="en-US" dirty="0"/>
          </a:p>
        </p:txBody>
      </p:sp>
      <p:sp>
        <p:nvSpPr>
          <p:cNvPr id="13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71472" y="3177964"/>
            <a:ext cx="5385816" cy="464911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head if needed</a:t>
            </a:r>
            <a:endParaRPr lang="en-US" dirty="0"/>
          </a:p>
        </p:txBody>
      </p:sp>
      <p:sp>
        <p:nvSpPr>
          <p:cNvPr id="14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 userDrawn="1"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57188" y="301336"/>
            <a:ext cx="8548273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8" name="Optum Care">
            <a:extLst>
              <a:ext uri="{FF2B5EF4-FFF2-40B4-BE49-F238E27FC236}">
                <a16:creationId xmlns:a16="http://schemas.microsoft.com/office/drawing/2014/main" id="{F6AE2408-6150-43FA-BE3D-00B4F83DE824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26" y="6173220"/>
            <a:ext cx="1888323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48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F18F5FCC-583C-47C6-9953-2F6AD74D46AE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354138"/>
            <a:ext cx="8401050" cy="4792662"/>
          </a:xfrm>
        </p:spPr>
        <p:txBody>
          <a:bodyPr/>
          <a:lstStyle>
            <a:lvl2pPr marL="171450" indent="-171450">
              <a:defRPr/>
            </a:lvl2pPr>
            <a:lvl3pPr marL="403225" indent="-165100">
              <a:defRPr/>
            </a:lvl3pPr>
            <a:lvl4pPr marL="628650" indent="-171450">
              <a:defRPr/>
            </a:lvl4pPr>
            <a:lvl5pPr marL="914400" indent="-22701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7200" y="1066800"/>
            <a:ext cx="84010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41506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cbarthol\Desktop\Charlotte Work\Tools\PPT\Empower\2019 PPT cover images\5-doctor-tablet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1"/>
            <a:ext cx="9144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8" name="Optum Care">
            <a:extLst>
              <a:ext uri="{FF2B5EF4-FFF2-40B4-BE49-F238E27FC236}">
                <a16:creationId xmlns:a16="http://schemas.microsoft.com/office/drawing/2014/main" id="{E58EE3BF-624E-4213-AFE2-2A4D5DFB121D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54" y="5843535"/>
            <a:ext cx="2703998" cy="62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573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C:\Users\cbarthol\Desktop\Charlotte Work\Tools\PPT\Empower\2019 PPT cover images\meeting-post-its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8" name="Optum Care">
            <a:extLst>
              <a:ext uri="{FF2B5EF4-FFF2-40B4-BE49-F238E27FC236}">
                <a16:creationId xmlns:a16="http://schemas.microsoft.com/office/drawing/2014/main" id="{E58EE3BF-624E-4213-AFE2-2A4D5DFB121D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54" y="5843535"/>
            <a:ext cx="2703998" cy="62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750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cbarthol\Desktop\Charlotte Work\Tools\PPT\Empower\2019 PPT cover images\7-woman-sitting-phone-mobile-4x3.jp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80" t="18354" r="2974"/>
          <a:stretch/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8" name="Optum Care">
            <a:extLst>
              <a:ext uri="{FF2B5EF4-FFF2-40B4-BE49-F238E27FC236}">
                <a16:creationId xmlns:a16="http://schemas.microsoft.com/office/drawing/2014/main" id="{E58EE3BF-624E-4213-AFE2-2A4D5DFB121D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54" y="5843535"/>
            <a:ext cx="2703998" cy="62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480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C:\Users\cbarthol\Desktop\Charlotte Work\Tools\PPT\Empower\2019 PPT cover images\zion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1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9" name="Optum Care">
            <a:extLst>
              <a:ext uri="{FF2B5EF4-FFF2-40B4-BE49-F238E27FC236}">
                <a16:creationId xmlns:a16="http://schemas.microsoft.com/office/drawing/2014/main" id="{E58EE3BF-624E-4213-AFE2-2A4D5DFB121D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54" y="5843535"/>
            <a:ext cx="2703998" cy="62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662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Milita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cbarthol\Desktop\Charlotte Work\Tools\PPT\Empower\2019 PPT cover images\9-military-army-family-happy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8" name="Optum Care">
            <a:extLst>
              <a:ext uri="{FF2B5EF4-FFF2-40B4-BE49-F238E27FC236}">
                <a16:creationId xmlns:a16="http://schemas.microsoft.com/office/drawing/2014/main" id="{E58EE3BF-624E-4213-AFE2-2A4D5DFB121D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54" y="5843535"/>
            <a:ext cx="2703998" cy="62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366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w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371475" y="0"/>
            <a:ext cx="8486775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 bwMode="gray">
          <a:xfrm>
            <a:off x="371475" y="1825625"/>
            <a:ext cx="8486775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85750" y="7386866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7E0E25-6F15-4EF9-9E73-3B348B1E826F}" type="datetime1">
              <a:rPr lang="en-US" smtClean="0"/>
              <a:t>1/7/2021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FBD12F-70CE-4189-B019-73D6EAD2C6EA}"/>
              </a:ext>
            </a:extLst>
          </p:cNvPr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IO_LOGOPLACEHOLDER#LowerLeftSmallStandard" hidden="1">
            <a:extLst>
              <a:ext uri="{FF2B5EF4-FFF2-40B4-BE49-F238E27FC236}">
                <a16:creationId xmlns:a16="http://schemas.microsoft.com/office/drawing/2014/main" id="{5C5A7F7E-7FE4-4B34-BD13-89633E458B26}"/>
              </a:ext>
            </a:extLst>
          </p:cNvPr>
          <p:cNvSpPr/>
          <p:nvPr/>
        </p:nvSpPr>
        <p:spPr>
          <a:xfrm>
            <a:off x="291917" y="6375554"/>
            <a:ext cx="1502229" cy="330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7" name="empower - DO NOT DELETE!!!" hidden="1"/>
          <p:cNvSpPr/>
          <p:nvPr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smtClean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75385" y="6583233"/>
            <a:ext cx="386040" cy="16459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4"/>
                </a:solidFill>
              </a:defRPr>
            </a:lvl1pPr>
          </a:lstStyle>
          <a:p>
            <a:fld id="{BC151626-B486-4759-B266-03B675213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Box 5" hidden="1"/>
          <p:cNvSpPr txBox="1"/>
          <p:nvPr>
            <p:custDataLst>
              <p:tags r:id="rId44"/>
            </p:custDataLst>
          </p:nvPr>
        </p:nvSpPr>
        <p:spPr>
          <a:xfrm rot="20625550">
            <a:off x="362602" y="2925786"/>
            <a:ext cx="8322776" cy="100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90000"/>
              </a:lnSpc>
              <a:spcAft>
                <a:spcPts val="400"/>
              </a:spcAft>
            </a:pPr>
            <a:endParaRPr lang="en-US" sz="660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14240" y="6376416"/>
            <a:ext cx="365259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US" sz="900">
                <a:solidFill>
                  <a:schemeClr val="accent4"/>
                </a:solidFill>
              </a:defRPr>
            </a:lvl1pPr>
          </a:lstStyle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pic>
        <p:nvPicPr>
          <p:cNvPr id="19" name="Optum Care">
            <a:extLst>
              <a:ext uri="{FF2B5EF4-FFF2-40B4-BE49-F238E27FC236}">
                <a16:creationId xmlns:a16="http://schemas.microsoft.com/office/drawing/2014/main" id="{F6AE2408-6150-43FA-BE3D-00B4F83DE824}"/>
              </a:ext>
            </a:extLst>
          </p:cNvPr>
          <p:cNvPicPr>
            <a:picLocks noChangeAspect="1"/>
          </p:cNvPicPr>
          <p:nvPr userDrawn="1">
            <p:custDataLst>
              <p:tags r:id="rId45"/>
            </p:custDataLst>
          </p:nvPr>
        </p:nvPicPr>
        <p:blipFill>
          <a:blip r:embed="rId4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26" y="6173220"/>
            <a:ext cx="1888323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203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  <p:sldLayoutId id="2147484009" r:id="rId5"/>
    <p:sldLayoutId id="2147484010" r:id="rId6"/>
    <p:sldLayoutId id="2147484011" r:id="rId7"/>
    <p:sldLayoutId id="2147484012" r:id="rId8"/>
    <p:sldLayoutId id="2147484013" r:id="rId9"/>
    <p:sldLayoutId id="2147484014" r:id="rId10"/>
    <p:sldLayoutId id="2147484015" r:id="rId11"/>
    <p:sldLayoutId id="2147484016" r:id="rId12"/>
    <p:sldLayoutId id="2147484017" r:id="rId13"/>
    <p:sldLayoutId id="2147484018" r:id="rId14"/>
    <p:sldLayoutId id="2147484019" r:id="rId15"/>
    <p:sldLayoutId id="2147484020" r:id="rId16"/>
    <p:sldLayoutId id="2147484021" r:id="rId17"/>
    <p:sldLayoutId id="2147484022" r:id="rId18"/>
    <p:sldLayoutId id="2147484023" r:id="rId19"/>
    <p:sldLayoutId id="2147484024" r:id="rId20"/>
    <p:sldLayoutId id="2147484025" r:id="rId21"/>
    <p:sldLayoutId id="2147484026" r:id="rId22"/>
    <p:sldLayoutId id="2147484027" r:id="rId23"/>
    <p:sldLayoutId id="2147484028" r:id="rId24"/>
    <p:sldLayoutId id="2147484029" r:id="rId25"/>
    <p:sldLayoutId id="2147484030" r:id="rId26"/>
    <p:sldLayoutId id="2147484031" r:id="rId27"/>
    <p:sldLayoutId id="2147484032" r:id="rId28"/>
    <p:sldLayoutId id="2147484033" r:id="rId29"/>
    <p:sldLayoutId id="2147484034" r:id="rId30"/>
    <p:sldLayoutId id="2147484035" r:id="rId31"/>
    <p:sldLayoutId id="2147484036" r:id="rId32"/>
    <p:sldLayoutId id="2147484037" r:id="rId33"/>
    <p:sldLayoutId id="2147484038" r:id="rId34"/>
    <p:sldLayoutId id="2147484039" r:id="rId35"/>
    <p:sldLayoutId id="2147484040" r:id="rId36"/>
    <p:sldLayoutId id="2147484041" r:id="rId37"/>
    <p:sldLayoutId id="2147484042" r:id="rId38"/>
    <p:sldLayoutId id="2147484043" r:id="rId39"/>
    <p:sldLayoutId id="2147484044" r:id="rId40"/>
    <p:sldLayoutId id="2147484045" r:id="rId4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5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230188" indent="-230188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398463" indent="-169863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7150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72" pos="2862" userDrawn="1">
          <p15:clr>
            <a:srgbClr val="FDE53C"/>
          </p15:clr>
        </p15:guide>
        <p15:guide id="73" orient="horz" pos="3720" userDrawn="1">
          <p15:clr>
            <a:srgbClr val="F26B43"/>
          </p15:clr>
        </p15:guide>
        <p15:guide id="74" userDrawn="1">
          <p15:clr>
            <a:srgbClr val="F26B43"/>
          </p15:clr>
        </p15:guide>
        <p15:guide id="75" pos="5580" userDrawn="1">
          <p15:clr>
            <a:srgbClr val="F26B43"/>
          </p15:clr>
        </p15:guide>
        <p15:guide id="76" pos="192" userDrawn="1">
          <p15:clr>
            <a:srgbClr val="F26B43"/>
          </p15:clr>
        </p15:guide>
        <p15:guide id="77" orient="horz" pos="4080" userDrawn="1">
          <p15:clr>
            <a:srgbClr val="F26B43"/>
          </p15:clr>
        </p15:guide>
        <p15:guide id="78" pos="234" userDrawn="1">
          <p15:clr>
            <a:srgbClr val="F26B43"/>
          </p15:clr>
        </p15:guide>
        <p15:guide id="79" orient="horz" pos="240" userDrawn="1">
          <p15:clr>
            <a:srgbClr val="F26B43"/>
          </p15:clr>
        </p15:guide>
        <p15:guide id="80" orient="horz" pos="360" userDrawn="1">
          <p15:clr>
            <a:srgbClr val="F26B43"/>
          </p15:clr>
        </p15:guide>
        <p15:guide id="81" orient="horz" pos="696" userDrawn="1">
          <p15:clr>
            <a:srgbClr val="F26B43"/>
          </p15:clr>
        </p15:guide>
        <p15:guide id="82" orient="horz" pos="2472" userDrawn="1">
          <p15:clr>
            <a:srgbClr val="F26B43"/>
          </p15:clr>
        </p15:guide>
        <p15:guide id="83" orient="horz" pos="4224" userDrawn="1">
          <p15:clr>
            <a:srgbClr val="F26B43"/>
          </p15:clr>
        </p15:guide>
        <p15:guide id="84" pos="5544" userDrawn="1">
          <p15:clr>
            <a:srgbClr val="F26B43"/>
          </p15:clr>
        </p15:guide>
        <p15:guide id="85" pos="2898" userDrawn="1">
          <p15:clr>
            <a:srgbClr val="FDE53C"/>
          </p15:clr>
        </p15:guide>
        <p15:guide id="86" pos="2016" userDrawn="1">
          <p15:clr>
            <a:srgbClr val="F26B43"/>
          </p15:clr>
        </p15:guide>
        <p15:guide id="87" pos="3744" userDrawn="1">
          <p15:clr>
            <a:srgbClr val="F26B43"/>
          </p15:clr>
        </p15:guide>
        <p15:guide id="88" pos="1980" userDrawn="1">
          <p15:clr>
            <a:srgbClr val="F26B43"/>
          </p15:clr>
        </p15:guide>
        <p15:guide id="89" pos="3780" userDrawn="1">
          <p15:clr>
            <a:srgbClr val="F26B43"/>
          </p15:clr>
        </p15:guide>
        <p15:guide id="90" orient="horz" pos="2424" userDrawn="1">
          <p15:clr>
            <a:srgbClr val="F26B43"/>
          </p15:clr>
        </p15:guide>
        <p15:guide id="91" orient="horz" pos="1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o the Fishbone and Five Whys:  Root Caus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CE Departmen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817" y="5448663"/>
            <a:ext cx="1304657" cy="1225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6904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ainstorm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29" name="Flowchart: Process 28"/>
          <p:cNvSpPr/>
          <p:nvPr/>
        </p:nvSpPr>
        <p:spPr>
          <a:xfrm>
            <a:off x="465880" y="5681077"/>
            <a:ext cx="1238230" cy="182563"/>
          </a:xfrm>
          <a:prstGeom prst="flowChartProcess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50" b="0" i="0" u="none" baseline="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Flowchart: Process 29"/>
          <p:cNvSpPr/>
          <p:nvPr/>
        </p:nvSpPr>
        <p:spPr>
          <a:xfrm>
            <a:off x="492989" y="1283048"/>
            <a:ext cx="1055077" cy="182563"/>
          </a:xfrm>
          <a:prstGeom prst="flowChartProcess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50" b="0" i="0" u="none" baseline="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Flowchart: Process 30"/>
          <p:cNvSpPr/>
          <p:nvPr/>
        </p:nvSpPr>
        <p:spPr>
          <a:xfrm>
            <a:off x="3158931" y="1238726"/>
            <a:ext cx="1055077" cy="182563"/>
          </a:xfrm>
          <a:prstGeom prst="flowChartProcess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50" b="0" i="0" u="none" baseline="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Flowchart: Process 31"/>
          <p:cNvSpPr/>
          <p:nvPr/>
        </p:nvSpPr>
        <p:spPr>
          <a:xfrm>
            <a:off x="5108956" y="1320133"/>
            <a:ext cx="1055077" cy="182563"/>
          </a:xfrm>
          <a:prstGeom prst="flowChartProcess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50" b="0" i="0" u="none" baseline="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Flowchart: Process 32"/>
          <p:cNvSpPr/>
          <p:nvPr/>
        </p:nvSpPr>
        <p:spPr>
          <a:xfrm>
            <a:off x="2788969" y="5696291"/>
            <a:ext cx="1055077" cy="182563"/>
          </a:xfrm>
          <a:prstGeom prst="flowChartProcess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50" b="0" i="0" u="none" baseline="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Flowchart: Process 33"/>
          <p:cNvSpPr/>
          <p:nvPr/>
        </p:nvSpPr>
        <p:spPr>
          <a:xfrm>
            <a:off x="4731704" y="5806810"/>
            <a:ext cx="1055077" cy="182563"/>
          </a:xfrm>
          <a:prstGeom prst="flowChartProcess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50" b="0" i="0" u="none" baseline="0" dirty="0" smtClean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449032" y="3523775"/>
            <a:ext cx="7995355" cy="0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V="1">
            <a:off x="3536427" y="2443498"/>
            <a:ext cx="1043736" cy="887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5746561" y="1803217"/>
            <a:ext cx="1548775" cy="1736439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H="1">
            <a:off x="3703449" y="3550684"/>
            <a:ext cx="2063287" cy="1959320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3844046" y="1776146"/>
            <a:ext cx="1980151" cy="1752262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836667" y="3198698"/>
            <a:ext cx="1225061" cy="685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56" name="Straight Connector 55"/>
          <p:cNvCxnSpPr/>
          <p:nvPr/>
        </p:nvCxnSpPr>
        <p:spPr>
          <a:xfrm>
            <a:off x="1267426" y="1727991"/>
            <a:ext cx="1448954" cy="1837134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1084995" y="3473850"/>
            <a:ext cx="1566529" cy="2207227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H="1">
            <a:off x="5139155" y="3598398"/>
            <a:ext cx="2063287" cy="1959320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V="1">
            <a:off x="4199553" y="3162166"/>
            <a:ext cx="1043736" cy="887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V="1">
            <a:off x="4147845" y="4066772"/>
            <a:ext cx="1043736" cy="887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 flipV="1">
            <a:off x="3322178" y="4787501"/>
            <a:ext cx="1043736" cy="887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 flipV="1">
            <a:off x="720675" y="2392177"/>
            <a:ext cx="1043736" cy="887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 flipV="1">
            <a:off x="894030" y="4450341"/>
            <a:ext cx="1043736" cy="887"/>
          </a:xfrm>
          <a:prstGeom prst="line">
            <a:avLst/>
          </a:prstGeom>
          <a:ln w="63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1243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half" idx="1"/>
          </p:nvPr>
        </p:nvSpPr>
        <p:spPr>
          <a:xfrm>
            <a:off x="371475" y="1776301"/>
            <a:ext cx="4231417" cy="4208329"/>
          </a:xfrm>
        </p:spPr>
        <p:txBody>
          <a:bodyPr/>
          <a:lstStyle/>
          <a:p>
            <a:pPr marL="0" lvl="1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13"/>
          </p:nvPr>
        </p:nvSpPr>
        <p:spPr>
          <a:xfrm>
            <a:off x="371475" y="502822"/>
            <a:ext cx="4126706" cy="492125"/>
          </a:xfrm>
        </p:spPr>
        <p:txBody>
          <a:bodyPr/>
          <a:lstStyle/>
          <a:p>
            <a:r>
              <a:rPr lang="en-US" dirty="0" smtClean="0"/>
              <a:t>5 Whys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3"/>
          </p:nvPr>
        </p:nvSpPr>
        <p:spPr>
          <a:xfrm>
            <a:off x="4832596" y="502821"/>
            <a:ext cx="4229100" cy="492125"/>
          </a:xfrm>
        </p:spPr>
        <p:txBody>
          <a:bodyPr/>
          <a:lstStyle/>
          <a:p>
            <a:r>
              <a:rPr lang="en-US" dirty="0" smtClean="0"/>
              <a:t>5 </a:t>
            </a:r>
            <a:r>
              <a:rPr lang="en-US" dirty="0" err="1" smtClean="0"/>
              <a:t>Hows</a:t>
            </a:r>
            <a:endParaRPr lang="en-US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4898572" y="1776302"/>
            <a:ext cx="4097148" cy="454829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52683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8F5FCC-583C-47C6-9953-2F6AD74D46AE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401050" cy="4792662"/>
          </a:xfrm>
        </p:spPr>
        <p:txBody>
          <a:bodyPr/>
          <a:lstStyle/>
          <a:p>
            <a:endParaRPr lang="en-US" sz="2000" dirty="0" smtClean="0">
              <a:solidFill>
                <a:schemeClr val="accent3"/>
              </a:solidFill>
            </a:endParaRPr>
          </a:p>
          <a:p>
            <a:pPr algn="ctr"/>
            <a:r>
              <a:rPr lang="en-US" sz="4400" b="1" dirty="0" smtClean="0"/>
              <a:t>QUESTIONS?</a:t>
            </a:r>
            <a:endParaRPr lang="en-US" sz="4400" b="1" dirty="0"/>
          </a:p>
        </p:txBody>
      </p:sp>
      <p:pic>
        <p:nvPicPr>
          <p:cNvPr id="2" name="Picture 1" descr="Asking Defining Questions - Excelsior College OWL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200" y="2655618"/>
            <a:ext cx="5852160" cy="390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60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rvey Time!  Only 3 Questions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F18F5FCC-583C-47C6-9953-2F6AD74D46AE}" type="slidenum">
              <a:rPr lang="en-US" smtClean="0"/>
              <a:pPr algn="r"/>
              <a:t>13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500" y="2476500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010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rning 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475" y="1403927"/>
            <a:ext cx="8486775" cy="4459184"/>
          </a:xfrm>
        </p:spPr>
        <p:txBody>
          <a:bodyPr/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dirty="0" smtClean="0"/>
              <a:t>To understand how to construct a fishbone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dirty="0" smtClean="0"/>
              <a:t>To identify and </a:t>
            </a:r>
            <a:r>
              <a:rPr lang="en-US" dirty="0" err="1" smtClean="0"/>
              <a:t>affinitize</a:t>
            </a:r>
            <a:r>
              <a:rPr lang="en-US" dirty="0" smtClean="0"/>
              <a:t> the potential causes of the problem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dirty="0" smtClean="0"/>
              <a:t>To evaluate the link between the fishbone and 5 Whys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dirty="0" smtClean="0"/>
              <a:t>To utilize these tools, fishbone, 5 whys, and affinity diagram to discover root caus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8314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8227" y="1861832"/>
            <a:ext cx="2211038" cy="1439561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7" name="Plus 6"/>
          <p:cNvSpPr/>
          <p:nvPr/>
        </p:nvSpPr>
        <p:spPr>
          <a:xfrm>
            <a:off x="2666487" y="2238971"/>
            <a:ext cx="747584" cy="704336"/>
          </a:xfrm>
          <a:prstGeom prst="mathPlus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3665" y="1796959"/>
            <a:ext cx="1954426" cy="195442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Equal 9"/>
          <p:cNvSpPr/>
          <p:nvPr/>
        </p:nvSpPr>
        <p:spPr>
          <a:xfrm>
            <a:off x="5565367" y="2335427"/>
            <a:ext cx="698157" cy="607880"/>
          </a:xfrm>
          <a:prstGeom prst="mathEqual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0800" y="1976776"/>
            <a:ext cx="2543727" cy="159479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975390" y="3027714"/>
            <a:ext cx="846438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0" i="0" u="none" baseline="0" dirty="0" smtClean="0">
                <a:solidFill>
                  <a:srgbClr val="55565A"/>
                </a:solidFill>
                <a:latin typeface="Arial"/>
              </a:rPr>
              <a:t>Caus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5"/>
          <a:srcRect t="2252"/>
          <a:stretch/>
        </p:blipFill>
        <p:spPr>
          <a:xfrm>
            <a:off x="687474" y="3923270"/>
            <a:ext cx="1207138" cy="21448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" name="Multiply 15"/>
          <p:cNvSpPr/>
          <p:nvPr/>
        </p:nvSpPr>
        <p:spPr>
          <a:xfrm>
            <a:off x="2308006" y="4479789"/>
            <a:ext cx="531341" cy="1031789"/>
          </a:xfrm>
          <a:prstGeom prst="mathMultiply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6"/>
          <a:srcRect l="10765" t="12829" r="13483" b="15155"/>
          <a:stretch/>
        </p:blipFill>
        <p:spPr>
          <a:xfrm>
            <a:off x="3614350" y="4183226"/>
            <a:ext cx="2088293" cy="1328352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2902033" y="4395518"/>
            <a:ext cx="894503" cy="1200329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8000" dirty="0">
                <a:solidFill>
                  <a:srgbClr val="00549F"/>
                </a:solidFill>
              </a:rPr>
              <a:t>5</a:t>
            </a:r>
          </a:p>
        </p:txBody>
      </p:sp>
      <p:sp>
        <p:nvSpPr>
          <p:cNvPr id="21" name="Equal 20"/>
          <p:cNvSpPr/>
          <p:nvPr/>
        </p:nvSpPr>
        <p:spPr>
          <a:xfrm>
            <a:off x="5637448" y="4543462"/>
            <a:ext cx="698157" cy="607880"/>
          </a:xfrm>
          <a:prstGeom prst="mathEqual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7"/>
          <a:srcRect t="28366" b="53411"/>
          <a:stretch/>
        </p:blipFill>
        <p:spPr>
          <a:xfrm>
            <a:off x="6380913" y="4782065"/>
            <a:ext cx="1838325" cy="45476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3" name="AutoShape 2" descr="Galaga Download Game | GameFabriqu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/>
          <a:srcRect l="6441"/>
          <a:stretch/>
        </p:blipFill>
        <p:spPr>
          <a:xfrm>
            <a:off x="6400800" y="3604022"/>
            <a:ext cx="1768820" cy="136997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9"/>
          <a:srcRect l="10606" t="1818" r="13030" b="-1818"/>
          <a:stretch/>
        </p:blipFill>
        <p:spPr>
          <a:xfrm>
            <a:off x="6380913" y="5099682"/>
            <a:ext cx="1838324" cy="13592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598404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ditional Fishbon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half" idx="1"/>
          </p:nvPr>
        </p:nvSpPr>
        <p:spPr>
          <a:xfrm>
            <a:off x="371475" y="1825626"/>
            <a:ext cx="8370930" cy="4433071"/>
          </a:xfrm>
        </p:spPr>
        <p:txBody>
          <a:bodyPr/>
          <a:lstStyle/>
          <a:p>
            <a:r>
              <a:rPr lang="en-US" dirty="0" smtClean="0"/>
              <a:t>AK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ause and Effect Diagra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Ishikawa Diagra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None/>
            </a:pPr>
            <a:r>
              <a:rPr lang="en-US" dirty="0" smtClean="0"/>
              <a:t>Organized brainstorming tool</a:t>
            </a:r>
          </a:p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US" dirty="0" smtClean="0"/>
              <a:t>Often taught by using 6M’s or 6P’s</a:t>
            </a:r>
          </a:p>
          <a:p>
            <a:pPr>
              <a:buNone/>
            </a:pPr>
            <a:r>
              <a:rPr lang="en-US" dirty="0" smtClean="0"/>
              <a:t>-Man, Method, Machine, Materials, Measurement, Mother Nature</a:t>
            </a:r>
          </a:p>
          <a:p>
            <a:pPr>
              <a:buNone/>
            </a:pPr>
            <a:r>
              <a:rPr lang="en-US" dirty="0" smtClean="0"/>
              <a:t>-People, Policy, Plant, Process, Product, Program</a:t>
            </a:r>
            <a:endParaRPr lang="en-US" dirty="0"/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4447395" y="1729735"/>
            <a:ext cx="4410855" cy="3060014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71646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Brainstorm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half" idx="1"/>
          </p:nvPr>
        </p:nvSpPr>
        <p:spPr>
          <a:xfrm>
            <a:off x="371475" y="1825627"/>
            <a:ext cx="4143375" cy="2783444"/>
          </a:xfrm>
        </p:spPr>
        <p:txBody>
          <a:bodyPr/>
          <a:lstStyle/>
          <a:p>
            <a:pPr marL="0" lvl="1" indent="0">
              <a:buNone/>
            </a:pPr>
            <a:r>
              <a:rPr lang="en-US" dirty="0"/>
              <a:t>Go to the Genba</a:t>
            </a:r>
          </a:p>
          <a:p>
            <a:pPr lvl="1"/>
            <a:r>
              <a:rPr lang="en-US" dirty="0"/>
              <a:t>Go and See, look for gaps and </a:t>
            </a:r>
            <a:r>
              <a:rPr lang="en-US" dirty="0" smtClean="0"/>
              <a:t>causes</a:t>
            </a:r>
          </a:p>
          <a:p>
            <a:r>
              <a:rPr lang="en-US" dirty="0" smtClean="0"/>
              <a:t>Go for Quantity</a:t>
            </a:r>
          </a:p>
          <a:p>
            <a:pPr lvl="1"/>
            <a:r>
              <a:rPr lang="en-US" dirty="0" smtClean="0"/>
              <a:t>Encourage the team to come up with as many causes for the effect or problem</a:t>
            </a:r>
          </a:p>
          <a:p>
            <a:pPr marL="0" lvl="1" indent="0">
              <a:buNone/>
            </a:pPr>
            <a:endParaRPr lang="en-US" dirty="0" smtClean="0"/>
          </a:p>
          <a:p>
            <a:pPr marL="0" lvl="1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Brainstorm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3"/>
          </p:nvPr>
        </p:nvSpPr>
        <p:spPr>
          <a:xfrm>
            <a:off x="4914900" y="1143111"/>
            <a:ext cx="4229100" cy="492125"/>
          </a:xfrm>
        </p:spPr>
        <p:txBody>
          <a:bodyPr/>
          <a:lstStyle/>
          <a:p>
            <a:r>
              <a:rPr lang="en-US" dirty="0" smtClean="0"/>
              <a:t>Affinitize the Causes</a:t>
            </a:r>
            <a:endParaRPr lang="en-US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-1" b="58000"/>
          <a:stretch/>
        </p:blipFill>
        <p:spPr>
          <a:xfrm>
            <a:off x="853389" y="4461822"/>
            <a:ext cx="3335551" cy="166109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34571"/>
          <a:stretch/>
        </p:blipFill>
        <p:spPr>
          <a:xfrm>
            <a:off x="5095618" y="3168024"/>
            <a:ext cx="3228203" cy="284797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4898571" y="1878149"/>
            <a:ext cx="4245429" cy="1110204"/>
          </a:xfrm>
        </p:spPr>
        <p:txBody>
          <a:bodyPr/>
          <a:lstStyle/>
          <a:p>
            <a:r>
              <a:rPr lang="en-US" dirty="0" smtClean="0"/>
              <a:t>Create groups and Label</a:t>
            </a:r>
          </a:p>
        </p:txBody>
      </p:sp>
    </p:spTree>
    <p:extLst>
      <p:ext uri="{BB962C8B-B14F-4D97-AF65-F5344CB8AC3E}">
        <p14:creationId xmlns:p14="http://schemas.microsoft.com/office/powerpoint/2010/main" val="26751325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ishbon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half" idx="1"/>
          </p:nvPr>
        </p:nvSpPr>
        <p:spPr>
          <a:xfrm>
            <a:off x="371475" y="1776302"/>
            <a:ext cx="4231417" cy="2783444"/>
          </a:xfrm>
        </p:spPr>
        <p:txBody>
          <a:bodyPr/>
          <a:lstStyle/>
          <a:p>
            <a:pPr marL="0" lvl="1" indent="0">
              <a:buNone/>
            </a:pPr>
            <a:r>
              <a:rPr lang="en-US" dirty="0" smtClean="0"/>
              <a:t>Use labels to organize to the body</a:t>
            </a:r>
          </a:p>
          <a:p>
            <a:pPr marL="0" lvl="1" indent="0">
              <a:buNone/>
            </a:pPr>
            <a:r>
              <a:rPr lang="en-US" dirty="0" smtClean="0"/>
              <a:t>Causes go to the left of the bone</a:t>
            </a:r>
          </a:p>
          <a:p>
            <a:pPr marL="0" lvl="1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Build the Fishbon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3"/>
          </p:nvPr>
        </p:nvSpPr>
        <p:spPr>
          <a:xfrm>
            <a:off x="4914900" y="1143111"/>
            <a:ext cx="4229100" cy="492125"/>
          </a:xfrm>
        </p:spPr>
        <p:txBody>
          <a:bodyPr/>
          <a:lstStyle/>
          <a:p>
            <a:r>
              <a:rPr lang="en-US" dirty="0" smtClean="0"/>
              <a:t>Multi-Vote</a:t>
            </a:r>
            <a:endParaRPr lang="en-US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4898572" y="1776302"/>
            <a:ext cx="4097148" cy="1110204"/>
          </a:xfrm>
        </p:spPr>
        <p:txBody>
          <a:bodyPr/>
          <a:lstStyle/>
          <a:p>
            <a:r>
              <a:rPr lang="en-US" dirty="0" smtClean="0"/>
              <a:t>Makes the number of causes more manageable</a:t>
            </a:r>
          </a:p>
          <a:p>
            <a:r>
              <a:rPr lang="en-US" dirty="0" smtClean="0"/>
              <a:t>Prioritizes the work</a:t>
            </a:r>
          </a:p>
          <a:p>
            <a:r>
              <a:rPr lang="en-US" dirty="0" smtClean="0"/>
              <a:t>Team agreement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t="8566"/>
          <a:stretch/>
        </p:blipFill>
        <p:spPr>
          <a:xfrm>
            <a:off x="371475" y="3111318"/>
            <a:ext cx="3990203" cy="269234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/>
          <a:srcRect l="9659" t="11528" r="2275"/>
          <a:stretch/>
        </p:blipFill>
        <p:spPr>
          <a:xfrm>
            <a:off x="4714240" y="4077767"/>
            <a:ext cx="3951971" cy="16908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0225" y="4399632"/>
            <a:ext cx="1018223" cy="3202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6178" y="4955405"/>
            <a:ext cx="789622" cy="24833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09119" y="5384546"/>
            <a:ext cx="1014426" cy="31903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7270" y="5088005"/>
            <a:ext cx="735989" cy="23146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8142" y="5379308"/>
            <a:ext cx="966736" cy="304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41757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5 Why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Take causes with the most votes and do a 5 Why to get to root cause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1389" y="3402388"/>
            <a:ext cx="6079474" cy="28523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5584" y="1852021"/>
            <a:ext cx="3198978" cy="1416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462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5 How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0820" y="1685298"/>
            <a:ext cx="4143375" cy="4079875"/>
          </a:xfrm>
        </p:spPr>
        <p:txBody>
          <a:bodyPr/>
          <a:lstStyle/>
          <a:p>
            <a:r>
              <a:rPr lang="en-US" dirty="0" smtClean="0"/>
              <a:t>Have the team come with 5 ways to solve for each root cause</a:t>
            </a:r>
          </a:p>
          <a:p>
            <a:r>
              <a:rPr lang="en-US" dirty="0" smtClean="0"/>
              <a:t>Encourage creativity</a:t>
            </a:r>
          </a:p>
          <a:p>
            <a:r>
              <a:rPr lang="en-US" dirty="0" smtClean="0"/>
              <a:t>Encourage strength of countermeasure</a:t>
            </a:r>
          </a:p>
          <a:p>
            <a:r>
              <a:rPr lang="en-US" dirty="0" smtClean="0"/>
              <a:t>Think visual controls, 5S, standardization, set up reduction, mistake proofing etc…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Countermeasures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9697" y="2199329"/>
            <a:ext cx="1897895" cy="152590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/>
          <a:srcRect l="12351" r="36944"/>
          <a:stretch/>
        </p:blipFill>
        <p:spPr>
          <a:xfrm rot="5400000">
            <a:off x="3867909" y="4169497"/>
            <a:ext cx="1692661" cy="250503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/>
          <a:srcRect l="7898" t="9538" r="2636" b="12371"/>
          <a:stretch/>
        </p:blipFill>
        <p:spPr>
          <a:xfrm rot="5400000">
            <a:off x="5404225" y="2889312"/>
            <a:ext cx="4065373" cy="266272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531836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ct val="90000"/>
              </a:lnSpc>
            </a:pPr>
            <a:r>
              <a:rPr lang="en-US" dirty="0" smtClean="0"/>
              <a:t>© 2019 Optum, Inc. All rights reserved. 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71475" y="1482811"/>
            <a:ext cx="64865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Turnover Rate in XX Department is 35</a:t>
            </a:r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</a:rPr>
              <a:t>%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71475" y="20044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23875" y="21568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676275" y="23092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828675" y="24616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981075" y="26140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1133475" y="27664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1285875" y="29188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1438275" y="30712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1590675" y="32236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1743075" y="33760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895475" y="35284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904384" y="1876319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2047875" y="36808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2200275" y="38332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2352675" y="39856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2505075" y="41380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2657475" y="42904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2809875" y="44428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2962275" y="45952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3114675" y="47476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3267075" y="49000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3419475" y="5052495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4056784" y="2028719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4209184" y="2181119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4361584" y="2333519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513984" y="2485919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4666384" y="2638319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4818784" y="2790719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4971184" y="2943119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5123584" y="3095519"/>
            <a:ext cx="908132" cy="5334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630520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EKGUID" val="46d64f6b-5bde-4546-91f4-cf19b7e02999"/>
  <p:tag name="MIO_UPDATE" val="True"/>
  <p:tag name="MIO_VERSION" val="20.06.2017 18:06:15"/>
  <p:tag name="MIO_DBID" val="105C9A49-0F00-47E0-A9B9-86E2A99454C8"/>
  <p:tag name="MIO_LASTDOWNLOADED" val="20.06.2017 11:06:15"/>
  <p:tag name="MIO_OBJECTNAME" val="Shape (3)"/>
  <p:tag name="MIO_LASTEDITORNAME" val="Johanna "/>
  <p:tag name="MIO_LOGOPLACEHOLDER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LOGOPLACEHOLDER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LOGOPLACEHOLDER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LOGOPLACEHOLDER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EKGUID" val="46d64f6b-5bde-4546-91f4-cf19b7e02999"/>
  <p:tag name="MIO_UPDATE" val="True"/>
  <p:tag name="MIO_VERSION" val="20.06.2017 18:06:15"/>
  <p:tag name="MIO_DBID" val="105C9A49-0F00-47E0-A9B9-86E2A99454C8"/>
  <p:tag name="MIO_LASTDOWNLOADED" val="20.06.2017 11:06:15"/>
  <p:tag name="MIO_OBJECTNAME" val="Shape (3)"/>
  <p:tag name="MIO_LASTEDITORNAME" val="Johanna "/>
  <p:tag name="MIO_LOGOPLACEHOLDER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LOGOPLACEHOLDER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LOGOPLACEHOLDER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LOGOPLACEHOLDER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7e74a6a-efac-48c0-87ed-80c0b5d5eb8b"/>
  <p:tag name="MIO_LOGOPLACEHOLDER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LOGOPLACEHOLDER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EKGUID" val="46d64f6b-5bde-4546-91f4-cf19b7e02999"/>
  <p:tag name="MIO_UPDATE" val="True"/>
  <p:tag name="MIO_VERSION" val="20.06.2017 18:06:15"/>
  <p:tag name="MIO_DBID" val="105C9A49-0F00-47E0-A9B9-86E2A99454C8"/>
  <p:tag name="MIO_LASTDOWNLOADED" val="20.06.2017 11:06:15"/>
  <p:tag name="MIO_OBJECTNAME" val="Shape (3)"/>
  <p:tag name="MIO_LASTEDITORNAME" val="Johanna "/>
  <p:tag name="MIO_LOGOPLACEHOLDER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EKGUID" val="46d64f6b-5bde-4546-91f4-cf19b7e02999"/>
  <p:tag name="MIO_UPDATE" val="True"/>
  <p:tag name="MIO_VERSION" val="20.06.2017 18:06:15"/>
  <p:tag name="MIO_DBID" val="105C9A49-0F00-47E0-A9B9-86E2A99454C8"/>
  <p:tag name="MIO_LASTDOWNLOADED" val="20.06.2017 11:06:15"/>
  <p:tag name="MIO_OBJECTNAME" val="Shape (3)"/>
  <p:tag name="MIO_LASTEDITORNAME" val="Johanna "/>
  <p:tag name="MIO_LOGOPLACEHOLDER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5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0"/>
  <p:tag name="MIO_HDS" val="True"/>
  <p:tag name="MIO_SKIPVERSION" val="01.01.0001 00:00:00"/>
  <p:tag name="MIO_EKGUID" val="0c4cd933-b438-42f0-9d56-77a862068c26"/>
  <p:tag name="MIO_UPDATE" val="True"/>
  <p:tag name="MIO_VERSION" val="10.06.2019 16:06:45"/>
  <p:tag name="MIO_DBID" val="105C9A49-0F00-47E0-A9B9-86E2A99454C8"/>
  <p:tag name="MIO_LASTDOWNLOADED" val="11.06.2019 14:20:23"/>
  <p:tag name="MIO_OBJECTNAME" val="Optum Standard"/>
  <p:tag name="MIO_LASTEDITORNAME" val="Charlotte Bartholomew"/>
  <p:tag name="MIO_CDID" val="2b3ffa84-15ea-4716-9951-e2fc4579fd69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EKGUID" val="46d64f6b-5bde-4546-91f4-cf19b7e02999"/>
  <p:tag name="MIO_UPDATE" val="True"/>
  <p:tag name="MIO_VERSION" val="20.06.2017 18:06:15"/>
  <p:tag name="MIO_DBID" val="105C9A49-0F00-47E0-A9B9-86E2A99454C8"/>
  <p:tag name="MIO_LASTDOWNLOADED" val="20.06.2017 11:06:15"/>
  <p:tag name="MIO_OBJECTNAME" val="Shape (3)"/>
  <p:tag name="MIO_LASTEDITORNAME" val="Johanna "/>
  <p:tag name="MIO_LOGOPLACEHOLDER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EKGUID" val="46d64f6b-5bde-4546-91f4-cf19b7e02999"/>
  <p:tag name="MIO_UPDATE" val="True"/>
  <p:tag name="MIO_VERSION" val="20.06.2017 18:06:15"/>
  <p:tag name="MIO_DBID" val="105C9A49-0F00-47E0-A9B9-86E2A99454C8"/>
  <p:tag name="MIO_LASTDOWNLOADED" val="20.06.2017 11:06:15"/>
  <p:tag name="MIO_OBJECTNAME" val="Shape (3)"/>
  <p:tag name="MIO_LASTEDITORNAME" val="Johanna "/>
  <p:tag name="MIO_LOGOPLACEHOLDER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EKGUID" val="46d64f6b-5bde-4546-91f4-cf19b7e02999"/>
  <p:tag name="MIO_UPDATE" val="True"/>
  <p:tag name="MIO_VERSION" val="20.06.2017 18:06:15"/>
  <p:tag name="MIO_DBID" val="105C9A49-0F00-47E0-A9B9-86E2A99454C8"/>
  <p:tag name="MIO_LASTDOWNLOADED" val="20.06.2017 11:06:15"/>
  <p:tag name="MIO_OBJECTNAME" val="Shape (3)"/>
  <p:tag name="MIO_LASTEDITORNAME" val="Johanna "/>
  <p:tag name="MIO_LOGOPLACEHOLDER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Add a watermark (examples: Confidential, Draft, Sample)"/>
  <p:tag name="MIO_USER_INPUT_OPTIONAL" val=" "/>
  <p:tag name="MIO_USER_INPUT_TEXT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EKGUID" val="46d64f6b-5bde-4546-91f4-cf19b7e02999"/>
  <p:tag name="MIO_UPDATE" val="True"/>
  <p:tag name="MIO_VERSION" val="20.06.2017 18:06:15"/>
  <p:tag name="MIO_DBID" val="105C9A49-0F00-47E0-A9B9-86E2A99454C8"/>
  <p:tag name="MIO_LASTDOWNLOADED" val="20.06.2017 11:06:15"/>
  <p:tag name="MIO_OBJECTNAME" val="Shape (3)"/>
  <p:tag name="MIO_LASTEDITORNAME" val="Johanna "/>
  <p:tag name="MIO_LOGOPLACEHOLDER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EKGUID" val="46d64f6b-5bde-4546-91f4-cf19b7e02999"/>
  <p:tag name="MIO_UPDATE" val="True"/>
  <p:tag name="MIO_VERSION" val="20.06.2017 18:06:15"/>
  <p:tag name="MIO_DBID" val="105C9A49-0F00-47E0-A9B9-86E2A99454C8"/>
  <p:tag name="MIO_LASTDOWNLOADED" val="20.06.2017 11:06:15"/>
  <p:tag name="MIO_OBJECTNAME" val="Shape (3)"/>
  <p:tag name="MIO_LASTEDITORNAME" val="Johanna "/>
  <p:tag name="MIO_LOGOPLACEHOLDER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EKGUID" val="46d64f6b-5bde-4546-91f4-cf19b7e02999"/>
  <p:tag name="MIO_UPDATE" val="True"/>
  <p:tag name="MIO_VERSION" val="20.06.2017 18:06:15"/>
  <p:tag name="MIO_DBID" val="105C9A49-0F00-47E0-A9B9-86E2A99454C8"/>
  <p:tag name="MIO_LASTDOWNLOADED" val="20.06.2017 11:06:15"/>
  <p:tag name="MIO_OBJECTNAME" val="Shape (3)"/>
  <p:tag name="MIO_LASTEDITORNAME" val="Johanna "/>
  <p:tag name="MIO_LOGOPLACEHOLDER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LOGOPLACEHOLDER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225937-7d68-43e6-ae0d-0c19a17c4580"/>
  <p:tag name="MIO_EKGUID" val="46d64f6b-5bde-4546-91f4-cf19b7e02999"/>
  <p:tag name="MIO_UPDATE" val="True"/>
  <p:tag name="MIO_VERSION" val="20.06.2017 18:06:15"/>
  <p:tag name="MIO_DBID" val="105C9A49-0F00-47E0-A9B9-86E2A99454C8"/>
  <p:tag name="MIO_LASTDOWNLOADED" val="20.06.2017 11:06:15"/>
  <p:tag name="MIO_OBJECTNAME" val="Shape (3)"/>
  <p:tag name="MIO_LASTEDITORNAME" val="Johanna "/>
  <p:tag name="MIO_LOGOPLACEHOLDER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1_Default Theme">
  <a:themeElements>
    <a:clrScheme name="Optum - Empower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rnd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90000"/>
          </a:lnSpc>
          <a:spcBef>
            <a:spcPts val="0"/>
          </a:spcBef>
          <a:spcAft>
            <a:spcPts val="400"/>
          </a:spcAft>
          <a:defRPr sz="1400" b="0" i="0" u="none" baseline="0" dirty="0" smtClean="0">
            <a:solidFill>
              <a:srgbClr val="55565A"/>
            </a:solidFill>
            <a:latin typeface="Arial"/>
          </a:defRPr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 Template Standard - 2017 - 07.17.17.potx" id="{C39B315F-E85D-43A3-9328-CD1941EC451E}" vid="{41A285A3-CDD9-43C3-A1DE-8F1659166C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8E6CAA81EF3A44BA4646087124E6A2" ma:contentTypeVersion="46" ma:contentTypeDescription="Create a new document." ma:contentTypeScope="" ma:versionID="a5802294548f44536c4c4473f384407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62b37e1f0a60323fad4d4a88590589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/>
    <Synchronization>Asynchronous</Synchronization>
    <Type>10003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  <Receiver>
    <Name/>
    <Synchronization>Asynchronous</Synchronization>
    <Type>10002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</spe:Receivers>
</file>

<file path=customXml/itemProps1.xml><?xml version="1.0" encoding="utf-8"?>
<ds:datastoreItem xmlns:ds="http://schemas.openxmlformats.org/officeDocument/2006/customXml" ds:itemID="{C2D588F4-7B38-4840-8842-5E65646E4AEF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310C5F4-9A66-47B6-8856-F411F02C63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4F6510-B92A-470D-9C47-7EBC0782331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785599E-2BF3-4EDB-88BA-74B240668DB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76</TotalTime>
  <Words>527</Words>
  <Application>Microsoft Office PowerPoint</Application>
  <PresentationFormat>On-screen Show (4:3)</PresentationFormat>
  <Paragraphs>73</Paragraphs>
  <Slides>13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Segoe UI</vt:lpstr>
      <vt:lpstr>Wingdings</vt:lpstr>
      <vt:lpstr>1_Default Theme</vt:lpstr>
      <vt:lpstr>To the Fishbone and Five Whys:  Root Cause</vt:lpstr>
      <vt:lpstr>Learning Objectives</vt:lpstr>
      <vt:lpstr>Summary</vt:lpstr>
      <vt:lpstr>Traditional Fishbone</vt:lpstr>
      <vt:lpstr>The Brainstorm</vt:lpstr>
      <vt:lpstr>The Fishbone</vt:lpstr>
      <vt:lpstr>5 Whys</vt:lpstr>
      <vt:lpstr>5 Hows</vt:lpstr>
      <vt:lpstr>Exercise</vt:lpstr>
      <vt:lpstr>Brainstorm</vt:lpstr>
      <vt:lpstr>PowerPoint Presentation</vt:lpstr>
      <vt:lpstr>PowerPoint Presentation</vt:lpstr>
      <vt:lpstr>Survey Time!  Only 3 Questions.</vt:lpstr>
    </vt:vector>
  </TitlesOfParts>
  <Company>UnitedHealt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lotte Bartholomew</dc:creator>
  <cp:lastModifiedBy>Lambert, Laura L</cp:lastModifiedBy>
  <cp:revision>45</cp:revision>
  <dcterms:created xsi:type="dcterms:W3CDTF">2019-06-11T18:23:50Z</dcterms:created>
  <dcterms:modified xsi:type="dcterms:W3CDTF">2021-01-07T23:5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8E6CAA81EF3A44BA4646087124E6A2</vt:lpwstr>
  </property>
</Properties>
</file>